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13"/>
  </p:notesMasterIdLst>
  <p:sldIdLst>
    <p:sldId id="312" r:id="rId2"/>
    <p:sldId id="395" r:id="rId3"/>
    <p:sldId id="384" r:id="rId4"/>
    <p:sldId id="433" r:id="rId5"/>
    <p:sldId id="388" r:id="rId6"/>
    <p:sldId id="426" r:id="rId7"/>
    <p:sldId id="436" r:id="rId8"/>
    <p:sldId id="437" r:id="rId9"/>
    <p:sldId id="411" r:id="rId10"/>
    <p:sldId id="434" r:id="rId11"/>
    <p:sldId id="387"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5656"/>
    <a:srgbClr val="757575"/>
    <a:srgbClr val="303030"/>
    <a:srgbClr val="2A2A2A"/>
    <a:srgbClr val="2C2C2C"/>
    <a:srgbClr val="2F2F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6" autoAdjust="0"/>
    <p:restoredTop sz="88989" autoAdjust="0"/>
  </p:normalViewPr>
  <p:slideViewPr>
    <p:cSldViewPr snapToGrid="0">
      <p:cViewPr varScale="1">
        <p:scale>
          <a:sx n="76" d="100"/>
          <a:sy n="76" d="100"/>
        </p:scale>
        <p:origin x="90" y="52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0891312986472E-2"/>
          <c:y val="9.2609660005874186E-2"/>
          <c:w val="0.9439821737402706"/>
          <c:h val="0.5890359237165399"/>
        </c:manualLayout>
      </c:layout>
      <c:barChart>
        <c:barDir val="col"/>
        <c:grouping val="stacked"/>
        <c:varyColors val="0"/>
        <c:ser>
          <c:idx val="0"/>
          <c:order val="0"/>
          <c:tx>
            <c:strRef>
              <c:f>Sheet1!$B$1</c:f>
              <c:strCache>
                <c:ptCount val="1"/>
                <c:pt idx="0">
                  <c:v>Series 1</c:v>
                </c:pt>
              </c:strCache>
            </c:strRef>
          </c:tx>
          <c:invertIfNegative val="0"/>
          <c:dLbls>
            <c:dLbl>
              <c:idx val="0"/>
              <c:layout>
                <c:manualLayout>
                  <c:x val="0"/>
                  <c:y val="-0.57109290336955754"/>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5.0925296599754035E-3"/>
                  <c:y val="-0.56080294114668261"/>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5.0925296599753098E-3"/>
                  <c:y val="-0.37558362113493421"/>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400" baseline="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Interaction with guest</c:v>
                </c:pt>
                <c:pt idx="1">
                  <c:v>Product Knowledge</c:v>
                </c:pt>
                <c:pt idx="2">
                  <c:v>Professional Image</c:v>
                </c:pt>
              </c:strCache>
            </c:strRef>
          </c:cat>
          <c:val>
            <c:numRef>
              <c:f>Sheet1!$B$2:$B$4</c:f>
              <c:numCache>
                <c:formatCode>0.00%</c:formatCode>
                <c:ptCount val="3"/>
                <c:pt idx="0">
                  <c:v>0.05</c:v>
                </c:pt>
                <c:pt idx="1">
                  <c:v>0.05</c:v>
                </c:pt>
                <c:pt idx="2">
                  <c:v>0.9</c:v>
                </c:pt>
              </c:numCache>
            </c:numRef>
          </c:val>
        </c:ser>
        <c:dLbls>
          <c:showLegendKey val="0"/>
          <c:showVal val="0"/>
          <c:showCatName val="0"/>
          <c:showSerName val="0"/>
          <c:showPercent val="0"/>
          <c:showBubbleSize val="0"/>
        </c:dLbls>
        <c:gapWidth val="150"/>
        <c:overlap val="100"/>
        <c:axId val="240594864"/>
        <c:axId val="240597608"/>
      </c:barChart>
      <c:catAx>
        <c:axId val="240594864"/>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240597608"/>
        <c:crosses val="autoZero"/>
        <c:auto val="1"/>
        <c:lblAlgn val="ctr"/>
        <c:lblOffset val="100"/>
        <c:noMultiLvlLbl val="0"/>
      </c:catAx>
      <c:valAx>
        <c:axId val="240597608"/>
        <c:scaling>
          <c:orientation val="minMax"/>
        </c:scaling>
        <c:delete val="1"/>
        <c:axPos val="l"/>
        <c:numFmt formatCode="0.00%" sourceLinked="1"/>
        <c:majorTickMark val="out"/>
        <c:minorTickMark val="none"/>
        <c:tickLblPos val="nextTo"/>
        <c:crossAx val="240594864"/>
        <c:crosses val="autoZero"/>
        <c:crossBetween val="between"/>
      </c:valAx>
    </c:plotArea>
    <c:plotVisOnly val="1"/>
    <c:dispBlanksAs val="gap"/>
    <c:showDLblsOverMax val="0"/>
  </c:chart>
  <c:spPr>
    <a:gradFill>
      <a:gsLst>
        <a:gs pos="0">
          <a:schemeClr val="dk1">
            <a:lumMod val="65000"/>
            <a:lumOff val="35000"/>
          </a:schemeClr>
        </a:gs>
        <a:gs pos="100000">
          <a:schemeClr val="dk1">
            <a:lumMod val="85000"/>
            <a:lumOff val="15000"/>
          </a:schemeClr>
        </a:gs>
      </a:gsLst>
      <a:path path="circle">
        <a:fillToRect l="50000" t="50000" r="50000" b="50000"/>
      </a:path>
    </a:gradFill>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Jan-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B$2:$B$4</c:f>
              <c:numCache>
                <c:formatCode>0%</c:formatCode>
                <c:ptCount val="3"/>
                <c:pt idx="0">
                  <c:v>0.5</c:v>
                </c:pt>
                <c:pt idx="1">
                  <c:v>0.1</c:v>
                </c:pt>
                <c:pt idx="2">
                  <c:v>0.4</c:v>
                </c:pt>
              </c:numCache>
            </c:numRef>
          </c:val>
        </c:ser>
        <c:ser>
          <c:idx val="1"/>
          <c:order val="1"/>
          <c:tx>
            <c:strRef>
              <c:f>Sheet1!$C$1</c:f>
              <c:strCache>
                <c:ptCount val="1"/>
                <c:pt idx="0">
                  <c:v>Feb-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C$2:$C$4</c:f>
              <c:numCache>
                <c:formatCode>0%</c:formatCode>
                <c:ptCount val="3"/>
                <c:pt idx="0">
                  <c:v>0.5</c:v>
                </c:pt>
                <c:pt idx="1">
                  <c:v>0.1</c:v>
                </c:pt>
                <c:pt idx="2">
                  <c:v>0.4</c:v>
                </c:pt>
              </c:numCache>
            </c:numRef>
          </c:val>
        </c:ser>
        <c:ser>
          <c:idx val="2"/>
          <c:order val="2"/>
          <c:tx>
            <c:strRef>
              <c:f>Sheet1!$D$1</c:f>
              <c:strCache>
                <c:ptCount val="1"/>
                <c:pt idx="0">
                  <c:v>Mar-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D$2:$D$4</c:f>
              <c:numCache>
                <c:formatCode>0%</c:formatCode>
                <c:ptCount val="3"/>
                <c:pt idx="0">
                  <c:v>0.5</c:v>
                </c:pt>
                <c:pt idx="1">
                  <c:v>0.1</c:v>
                </c:pt>
                <c:pt idx="2">
                  <c:v>0.4</c:v>
                </c:pt>
              </c:numCache>
            </c:numRef>
          </c:val>
        </c:ser>
        <c:ser>
          <c:idx val="3"/>
          <c:order val="3"/>
          <c:tx>
            <c:strRef>
              <c:f>Sheet1!$E$1</c:f>
              <c:strCache>
                <c:ptCount val="1"/>
                <c:pt idx="0">
                  <c:v>Apr-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E$2:$E$4</c:f>
              <c:numCache>
                <c:formatCode>0%</c:formatCode>
                <c:ptCount val="3"/>
                <c:pt idx="0">
                  <c:v>0.5</c:v>
                </c:pt>
                <c:pt idx="1">
                  <c:v>0.1</c:v>
                </c:pt>
                <c:pt idx="2">
                  <c:v>0.4</c:v>
                </c:pt>
              </c:numCache>
            </c:numRef>
          </c:val>
        </c:ser>
        <c:dLbls>
          <c:showLegendKey val="0"/>
          <c:showVal val="0"/>
          <c:showCatName val="0"/>
          <c:showSerName val="0"/>
          <c:showPercent val="0"/>
          <c:showBubbleSize val="0"/>
        </c:dLbls>
        <c:gapWidth val="150"/>
        <c:axId val="240601528"/>
        <c:axId val="240600352"/>
      </c:barChart>
      <c:catAx>
        <c:axId val="240601528"/>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240600352"/>
        <c:crosses val="autoZero"/>
        <c:auto val="1"/>
        <c:lblAlgn val="ctr"/>
        <c:lblOffset val="100"/>
        <c:noMultiLvlLbl val="0"/>
      </c:catAx>
      <c:valAx>
        <c:axId val="240600352"/>
        <c:scaling>
          <c:orientation val="minMax"/>
        </c:scaling>
        <c:delete val="0"/>
        <c:axPos val="l"/>
        <c:majorGridlines>
          <c:spPr>
            <a:ln>
              <a:noFill/>
            </a:ln>
          </c:spPr>
        </c:majorGridlines>
        <c:numFmt formatCode="0%" sourceLinked="1"/>
        <c:majorTickMark val="none"/>
        <c:minorTickMark val="none"/>
        <c:tickLblPos val="none"/>
        <c:spPr>
          <a:ln/>
        </c:spPr>
        <c:crossAx val="240601528"/>
        <c:crosses val="autoZero"/>
        <c:crossBetween val="between"/>
      </c:valAx>
    </c:plotArea>
    <c:legend>
      <c:legendPos val="b"/>
      <c:layout/>
      <c:overlay val="0"/>
      <c:txPr>
        <a:bodyPr/>
        <a:lstStyle/>
        <a:p>
          <a:pPr>
            <a:defRPr baseline="0">
              <a:solidFill>
                <a:schemeClr val="bg1"/>
              </a:solidFill>
            </a:defRPr>
          </a:pPr>
          <a:endParaRPr lang="en-US"/>
        </a:p>
      </c:txPr>
    </c:legend>
    <c:plotVisOnly val="1"/>
    <c:dispBlanksAs val="gap"/>
    <c:showDLblsOverMax val="0"/>
  </c:chart>
  <c:spPr>
    <a:gradFill flip="none" rotWithShape="1">
      <a:gsLst>
        <a:gs pos="0">
          <a:schemeClr val="accent3">
            <a:lumMod val="89000"/>
          </a:schemeClr>
        </a:gs>
        <a:gs pos="46000">
          <a:srgbClr val="565656"/>
        </a:gs>
        <a:gs pos="97000">
          <a:srgbClr val="303030"/>
        </a:gs>
      </a:gsLst>
      <a:path path="circle">
        <a:fillToRect l="50000" t="50000" r="50000" b="50000"/>
      </a:path>
      <a:tileRect/>
    </a:gradFill>
    <a:ln>
      <a:solidFill>
        <a:schemeClr val="tx1">
          <a:tint val="75000"/>
        </a:schemeClr>
      </a:solidFill>
    </a:ln>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9330956678895E-2"/>
          <c:y val="0.23188150926403842"/>
          <c:w val="0.93935519769149645"/>
          <c:h val="0.51013111880184392"/>
        </c:manualLayout>
      </c:layout>
      <c:barChart>
        <c:barDir val="col"/>
        <c:grouping val="clustered"/>
        <c:varyColors val="0"/>
        <c:ser>
          <c:idx val="0"/>
          <c:order val="0"/>
          <c:tx>
            <c:strRef>
              <c:f>ChartData!$B$49:$B$50</c:f>
              <c:strCache>
                <c:ptCount val="2"/>
                <c:pt idx="0">
                  <c:v>JAN 2017</c:v>
                </c:pt>
                <c:pt idx="1">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B$51:$B$54</c:f>
              <c:numCache>
                <c:formatCode>0%</c:formatCode>
                <c:ptCount val="4"/>
                <c:pt idx="0">
                  <c:v>0.93888888888888899</c:v>
                </c:pt>
                <c:pt idx="1">
                  <c:v>1</c:v>
                </c:pt>
                <c:pt idx="2">
                  <c:v>0.98611111111111105</c:v>
                </c:pt>
                <c:pt idx="3">
                  <c:v>0.89880952380952395</c:v>
                </c:pt>
              </c:numCache>
            </c:numRef>
          </c:val>
          <c:extLst xmlns:c16r2="http://schemas.microsoft.com/office/drawing/2015/06/chart">
            <c:ext xmlns:c16="http://schemas.microsoft.com/office/drawing/2014/chart" uri="{C3380CC4-5D6E-409C-BE32-E72D297353CC}">
              <c16:uniqueId val="{00000000-EA97-4152-8DBC-676603146F76}"/>
            </c:ext>
          </c:extLst>
        </c:ser>
        <c:ser>
          <c:idx val="1"/>
          <c:order val="1"/>
          <c:tx>
            <c:strRef>
              <c:f>ChartData!$C$49:$C$50</c:f>
              <c:strCache>
                <c:ptCount val="2"/>
                <c:pt idx="0">
                  <c:v>FEB 2017</c:v>
                </c:pt>
                <c:pt idx="1">
                  <c:v>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C$51:$C$54</c:f>
              <c:numCache>
                <c:formatCode>0%</c:formatCode>
                <c:ptCount val="4"/>
                <c:pt idx="0">
                  <c:v>0.98941746031746003</c:v>
                </c:pt>
                <c:pt idx="1">
                  <c:v>0.97916666666666696</c:v>
                </c:pt>
                <c:pt idx="2">
                  <c:v>0.94444444444444398</c:v>
                </c:pt>
                <c:pt idx="3">
                  <c:v>0.97916666666666696</c:v>
                </c:pt>
              </c:numCache>
            </c:numRef>
          </c:val>
          <c:extLst xmlns:c16r2="http://schemas.microsoft.com/office/drawing/2015/06/chart">
            <c:ext xmlns:c16="http://schemas.microsoft.com/office/drawing/2014/chart" uri="{C3380CC4-5D6E-409C-BE32-E72D297353CC}">
              <c16:uniqueId val="{00000001-EA97-4152-8DBC-676603146F76}"/>
            </c:ext>
          </c:extLst>
        </c:ser>
        <c:ser>
          <c:idx val="2"/>
          <c:order val="2"/>
          <c:tx>
            <c:strRef>
              <c:f>ChartData!$D$49:$D$50</c:f>
              <c:strCache>
                <c:ptCount val="2"/>
                <c:pt idx="0">
                  <c:v>MAR 2017</c:v>
                </c:pt>
                <c:pt idx="1">
                  <c:v>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D$51:$D$54</c:f>
              <c:numCache>
                <c:formatCode>0%</c:formatCode>
                <c:ptCount val="4"/>
                <c:pt idx="0">
                  <c:v>0.96527777777777801</c:v>
                </c:pt>
                <c:pt idx="1">
                  <c:v>1</c:v>
                </c:pt>
                <c:pt idx="2">
                  <c:v>0.94565217391304401</c:v>
                </c:pt>
                <c:pt idx="3">
                  <c:v>0.94270833333333304</c:v>
                </c:pt>
              </c:numCache>
            </c:numRef>
          </c:val>
          <c:extLst xmlns:c16r2="http://schemas.microsoft.com/office/drawing/2015/06/chart">
            <c:ext xmlns:c16="http://schemas.microsoft.com/office/drawing/2014/chart" uri="{C3380CC4-5D6E-409C-BE32-E72D297353CC}">
              <c16:uniqueId val="{00000002-EA97-4152-8DBC-676603146F76}"/>
            </c:ext>
          </c:extLst>
        </c:ser>
        <c:ser>
          <c:idx val="3"/>
          <c:order val="3"/>
          <c:tx>
            <c:strRef>
              <c:f>ChartData!$E$49:$E$50</c:f>
              <c:strCache>
                <c:ptCount val="2"/>
                <c:pt idx="0">
                  <c:v>APR 2017</c:v>
                </c:pt>
                <c:pt idx="1">
                  <c:v>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E$51:$E$54</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3-EA97-4152-8DBC-676603146F76}"/>
            </c:ext>
          </c:extLst>
        </c:ser>
        <c:dLbls>
          <c:showLegendKey val="0"/>
          <c:showVal val="0"/>
          <c:showCatName val="0"/>
          <c:showSerName val="0"/>
          <c:showPercent val="0"/>
          <c:showBubbleSize val="0"/>
        </c:dLbls>
        <c:gapWidth val="100"/>
        <c:overlap val="-24"/>
        <c:axId val="347866712"/>
        <c:axId val="347862792"/>
      </c:barChart>
      <c:catAx>
        <c:axId val="347866712"/>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347862792"/>
        <c:crosses val="min"/>
        <c:auto val="1"/>
        <c:lblAlgn val="ctr"/>
        <c:lblOffset val="0"/>
        <c:noMultiLvlLbl val="0"/>
      </c:catAx>
      <c:valAx>
        <c:axId val="347862792"/>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347866712"/>
        <c:crosses val="min"/>
        <c:crossBetween val="between"/>
        <c:majorUnit val="0"/>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14685687588212E-2"/>
          <c:y val="0.2637303964598246"/>
          <c:w val="0.93121647305736366"/>
          <c:h val="0.57629958764317113"/>
        </c:manualLayout>
      </c:layout>
      <c:barChart>
        <c:barDir val="col"/>
        <c:grouping val="clustered"/>
        <c:varyColors val="0"/>
        <c:ser>
          <c:idx val="0"/>
          <c:order val="0"/>
          <c:tx>
            <c:strRef>
              <c:f>ChartData!$B$44</c:f>
              <c:strCache>
                <c:ptCount val="1"/>
                <c:pt idx="0">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45:$A$48</c:f>
              <c:strCache>
                <c:ptCount val="4"/>
                <c:pt idx="0">
                  <c:v>GF</c:v>
                </c:pt>
                <c:pt idx="1">
                  <c:v>L1</c:v>
                </c:pt>
                <c:pt idx="2">
                  <c:v>L2</c:v>
                </c:pt>
                <c:pt idx="3">
                  <c:v>LG</c:v>
                </c:pt>
              </c:strCache>
            </c:strRef>
          </c:cat>
          <c:val>
            <c:numRef>
              <c:f>ChartData!$B$45:$B$48</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0-CE22-4454-B759-D72E2E2FC126}"/>
            </c:ext>
          </c:extLst>
        </c:ser>
        <c:dLbls>
          <c:showLegendKey val="0"/>
          <c:showVal val="0"/>
          <c:showCatName val="0"/>
          <c:showSerName val="0"/>
          <c:showPercent val="0"/>
          <c:showBubbleSize val="0"/>
        </c:dLbls>
        <c:gapWidth val="100"/>
        <c:overlap val="-24"/>
        <c:axId val="347866320"/>
        <c:axId val="347864752"/>
      </c:barChart>
      <c:catAx>
        <c:axId val="347866320"/>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347864752"/>
        <c:crosses val="min"/>
        <c:auto val="1"/>
        <c:lblAlgn val="ctr"/>
        <c:lblOffset val="0"/>
        <c:noMultiLvlLbl val="0"/>
      </c:catAx>
      <c:valAx>
        <c:axId val="347864752"/>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347866320"/>
        <c:crosses val="min"/>
        <c:crossBetween val="between"/>
        <c:majorUnit val="0"/>
      </c:valAx>
      <c:spPr>
        <a:noFill/>
        <a:ln>
          <a:noFill/>
        </a:ln>
        <a:effectLst/>
      </c:spPr>
    </c:plotArea>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AD8D1F-4649-4325-BEC2-6DC66B8AC630}"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52C7BE74-1B4C-4C79-A7F5-FD190525BDD2}">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dirty="0">
            <a:solidFill>
              <a:schemeClr val="accent1">
                <a:lumMod val="40000"/>
                <a:lumOff val="60000"/>
              </a:schemeClr>
            </a:solidFill>
          </a:endParaRPr>
        </a:p>
      </dgm:t>
    </dgm:pt>
    <dgm:pt modelId="{BAEE32AE-D8D0-464C-801E-9C7BFB723B46}" type="parTrans" cxnId="{1B1FB095-A232-4038-889F-8E3348C76C42}">
      <dgm:prSet/>
      <dgm:spPr/>
      <dgm:t>
        <a:bodyPr/>
        <a:lstStyle/>
        <a:p>
          <a:endParaRPr lang="en-US"/>
        </a:p>
      </dgm:t>
    </dgm:pt>
    <dgm:pt modelId="{48DA336B-31F9-4EDE-A51E-A9C565778F2D}" type="sibTrans" cxnId="{1B1FB095-A232-4038-889F-8E3348C76C42}">
      <dgm:prSet/>
      <dgm:spPr/>
      <dgm:t>
        <a:bodyPr/>
        <a:lstStyle/>
        <a:p>
          <a:endParaRPr lang="en-US"/>
        </a:p>
      </dgm:t>
    </dgm:pt>
    <dgm:pt modelId="{30D21E9F-32CD-4854-8422-440BD4974F89}">
      <dgm:prSet phldrT="[Text]" custT="1"/>
      <dgm:spPr/>
      <dgm:t>
        <a:bodyPr/>
        <a:lstStyle/>
        <a:p>
          <a:pPr marL="349250" indent="0" algn="ctr">
            <a:tabLst>
              <a:tab pos="403225" algn="l"/>
            </a:tabLst>
          </a:pPr>
          <a:endParaRPr lang="en-US" sz="1600" dirty="0"/>
        </a:p>
        <a:p>
          <a:pPr marL="349250" indent="0" algn="ctr">
            <a:tabLst>
              <a:tab pos="403225" algn="l"/>
            </a:tabLst>
          </a:pPr>
          <a:r>
            <a:rPr lang="en-US" sz="4400" dirty="0" smtClean="0">
              <a:latin typeface="Tw Cen MT Condensed" panose="020B0606020104020203" pitchFamily="34" charset="0"/>
            </a:rPr>
            <a:t>[Visits]</a:t>
          </a:r>
          <a:endParaRPr lang="en-US" sz="4400" dirty="0">
            <a:latin typeface="Tw Cen MT Condensed" panose="020B0606020104020203" pitchFamily="34" charset="0"/>
          </a:endParaRPr>
        </a:p>
      </dgm:t>
    </dgm:pt>
    <dgm:pt modelId="{12B817BC-20AB-429C-8039-D1951E0EEE86}" type="parTrans" cxnId="{663BDD21-A50F-4564-9FFF-0B8CD1558EC8}">
      <dgm:prSet/>
      <dgm:spPr/>
      <dgm:t>
        <a:bodyPr/>
        <a:lstStyle/>
        <a:p>
          <a:endParaRPr lang="en-US"/>
        </a:p>
      </dgm:t>
    </dgm:pt>
    <dgm:pt modelId="{341389CB-DC3B-4D63-812A-5F129C2D2B84}" type="sibTrans" cxnId="{663BDD21-A50F-4564-9FFF-0B8CD1558EC8}">
      <dgm:prSet/>
      <dgm:spPr/>
      <dgm:t>
        <a:bodyPr/>
        <a:lstStyle/>
        <a:p>
          <a:endParaRPr lang="en-US"/>
        </a:p>
      </dgm:t>
    </dgm:pt>
    <dgm:pt modelId="{5A373B62-BBEA-4F1D-B30E-C6A0D37A9036}">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dirty="0">
            <a:solidFill>
              <a:schemeClr val="accent1">
                <a:lumMod val="40000"/>
                <a:lumOff val="60000"/>
              </a:schemeClr>
            </a:solidFill>
          </a:endParaRPr>
        </a:p>
      </dgm:t>
    </dgm:pt>
    <dgm:pt modelId="{A5601D50-1979-4FCE-A3D0-FFDB4F6DC8AF}" type="parTrans" cxnId="{0E32F2EB-E9C2-4B82-A91C-D7479C322D83}">
      <dgm:prSet/>
      <dgm:spPr/>
      <dgm:t>
        <a:bodyPr/>
        <a:lstStyle/>
        <a:p>
          <a:endParaRPr lang="en-US"/>
        </a:p>
      </dgm:t>
    </dgm:pt>
    <dgm:pt modelId="{3A318304-CF7A-457D-A26A-A05108C4F173}" type="sibTrans" cxnId="{0E32F2EB-E9C2-4B82-A91C-D7479C322D83}">
      <dgm:prSet/>
      <dgm:spPr/>
      <dgm:t>
        <a:bodyPr/>
        <a:lstStyle/>
        <a:p>
          <a:endParaRPr lang="en-US"/>
        </a:p>
      </dgm:t>
    </dgm:pt>
    <dgm:pt modelId="{04926F74-5AC4-4F57-B209-2C19906AAD5B}">
      <dgm:prSet phldrT="[Text]" custT="1"/>
      <dgm:spPr/>
      <dgm:t>
        <a:bodyPr anchor="ctr"/>
        <a:lstStyle/>
        <a:p>
          <a:pPr algn="ctr"/>
          <a:r>
            <a:rPr lang="en-US" sz="4400" dirty="0" smtClean="0"/>
            <a:t>[Score]</a:t>
          </a:r>
          <a:endParaRPr lang="en-US" sz="4400" dirty="0"/>
        </a:p>
      </dgm:t>
    </dgm:pt>
    <dgm:pt modelId="{952DEFF3-7B8A-472C-B058-E2A2CA5068AD}" type="parTrans" cxnId="{113F4BCE-0CEC-436A-A8AD-401463887E2A}">
      <dgm:prSet/>
      <dgm:spPr/>
      <dgm:t>
        <a:bodyPr/>
        <a:lstStyle/>
        <a:p>
          <a:endParaRPr lang="en-US"/>
        </a:p>
      </dgm:t>
    </dgm:pt>
    <dgm:pt modelId="{F5866EA1-00BC-4368-BEB8-540CD046CD7F}" type="sibTrans" cxnId="{113F4BCE-0CEC-436A-A8AD-401463887E2A}">
      <dgm:prSet/>
      <dgm:spPr/>
      <dgm:t>
        <a:bodyPr/>
        <a:lstStyle/>
        <a:p>
          <a:endParaRPr lang="en-US"/>
        </a:p>
      </dgm:t>
    </dgm:pt>
    <dgm:pt modelId="{C05A5172-6ED1-4FD8-A128-9C28083132F0}">
      <dgm:prSet phldrT="[Text]" custT="1"/>
      <dgm:spPr>
        <a:solidFill>
          <a:schemeClr val="bg2">
            <a:lumMod val="25000"/>
          </a:schemeClr>
        </a:solidFill>
      </dgm:spPr>
      <dgm:t>
        <a:bodyPr/>
        <a:lstStyle/>
        <a:p>
          <a:pPr algn="ctr"/>
          <a:r>
            <a:rPr lang="en-US" sz="2400" cap="all" spc="83" dirty="0">
              <a:solidFill>
                <a:schemeClr val="accent1">
                  <a:lumMod val="40000"/>
                  <a:lumOff val="60000"/>
                </a:schemeClr>
              </a:solidFill>
              <a:latin typeface="Tw Cen MT Condensed" panose="020B0606020104020203"/>
              <a:ea typeface="MS PGothic" pitchFamily="34" charset="-128"/>
            </a:rPr>
            <a:t>YTD Score</a:t>
          </a:r>
        </a:p>
      </dgm:t>
    </dgm:pt>
    <dgm:pt modelId="{504FA8A6-5076-4E2E-BCF9-3760D0B27B83}" type="parTrans" cxnId="{839513FC-226D-4F12-A367-999097411731}">
      <dgm:prSet/>
      <dgm:spPr/>
      <dgm:t>
        <a:bodyPr/>
        <a:lstStyle/>
        <a:p>
          <a:endParaRPr lang="en-US"/>
        </a:p>
      </dgm:t>
    </dgm:pt>
    <dgm:pt modelId="{8DB69D72-07D3-400F-86A0-B91C9A8C6A95}" type="sibTrans" cxnId="{839513FC-226D-4F12-A367-999097411731}">
      <dgm:prSet/>
      <dgm:spPr/>
      <dgm:t>
        <a:bodyPr/>
        <a:lstStyle/>
        <a:p>
          <a:endParaRPr lang="en-US"/>
        </a:p>
      </dgm:t>
    </dgm:pt>
    <dgm:pt modelId="{2FFCDB34-C400-421B-B71A-04E255E3A6B4}">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dirty="0">
            <a:solidFill>
              <a:schemeClr val="accent1">
                <a:lumMod val="40000"/>
                <a:lumOff val="60000"/>
              </a:schemeClr>
            </a:solidFill>
          </a:endParaRPr>
        </a:p>
      </dgm:t>
    </dgm:pt>
    <dgm:pt modelId="{B746C6D2-1315-47A3-A69B-90CFF371B73F}" type="parTrans" cxnId="{F2F304D0-B291-4EC8-AE9E-C2107133F1C3}">
      <dgm:prSet/>
      <dgm:spPr/>
      <dgm:t>
        <a:bodyPr/>
        <a:lstStyle/>
        <a:p>
          <a:endParaRPr lang="en-US"/>
        </a:p>
      </dgm:t>
    </dgm:pt>
    <dgm:pt modelId="{0AC3C79A-D65D-445C-8138-A315E32A6E6D}" type="sibTrans" cxnId="{F2F304D0-B291-4EC8-AE9E-C2107133F1C3}">
      <dgm:prSet/>
      <dgm:spPr/>
      <dgm:t>
        <a:bodyPr/>
        <a:lstStyle/>
        <a:p>
          <a:endParaRPr lang="en-US"/>
        </a:p>
      </dgm:t>
    </dgm:pt>
    <dgm:pt modelId="{3D825EE4-77D2-4332-A148-C417A0DEF60D}" type="pres">
      <dgm:prSet presAssocID="{86AD8D1F-4649-4325-BEC2-6DC66B8AC630}" presName="Name0" presStyleCnt="0">
        <dgm:presLayoutVars>
          <dgm:dir/>
          <dgm:animLvl val="lvl"/>
          <dgm:resizeHandles val="exact"/>
        </dgm:presLayoutVars>
      </dgm:prSet>
      <dgm:spPr/>
      <dgm:t>
        <a:bodyPr/>
        <a:lstStyle/>
        <a:p>
          <a:endParaRPr lang="en-US"/>
        </a:p>
      </dgm:t>
    </dgm:pt>
    <dgm:pt modelId="{0C4DDC97-5738-4F04-8835-1C6362DDDD2A}" type="pres">
      <dgm:prSet presAssocID="{52C7BE74-1B4C-4C79-A7F5-FD190525BDD2}" presName="compositeNode" presStyleCnt="0">
        <dgm:presLayoutVars>
          <dgm:bulletEnabled val="1"/>
        </dgm:presLayoutVars>
      </dgm:prSet>
      <dgm:spPr/>
    </dgm:pt>
    <dgm:pt modelId="{FFFE27BD-6EBC-4F2F-911B-A511E3276A30}" type="pres">
      <dgm:prSet presAssocID="{52C7BE74-1B4C-4C79-A7F5-FD190525BDD2}" presName="bgRect" presStyleLbl="node1" presStyleIdx="0" presStyleCnt="4" custScaleX="65200" custLinFactNeighborX="934" custLinFactNeighborY="3532"/>
      <dgm:spPr/>
      <dgm:t>
        <a:bodyPr/>
        <a:lstStyle/>
        <a:p>
          <a:endParaRPr lang="en-US"/>
        </a:p>
      </dgm:t>
    </dgm:pt>
    <dgm:pt modelId="{D8F988C2-FE5D-414E-A9C5-AAA4D0CAABD7}" type="pres">
      <dgm:prSet presAssocID="{52C7BE74-1B4C-4C79-A7F5-FD190525BDD2}" presName="parentNode" presStyleLbl="node1" presStyleIdx="0" presStyleCnt="4">
        <dgm:presLayoutVars>
          <dgm:chMax val="0"/>
          <dgm:bulletEnabled val="1"/>
        </dgm:presLayoutVars>
      </dgm:prSet>
      <dgm:spPr/>
      <dgm:t>
        <a:bodyPr/>
        <a:lstStyle/>
        <a:p>
          <a:endParaRPr lang="en-US"/>
        </a:p>
      </dgm:t>
    </dgm:pt>
    <dgm:pt modelId="{C3197A08-344A-48ED-9281-B5316FCE93D4}" type="pres">
      <dgm:prSet presAssocID="{52C7BE74-1B4C-4C79-A7F5-FD190525BDD2}" presName="childNode" presStyleLbl="node1" presStyleIdx="0" presStyleCnt="4">
        <dgm:presLayoutVars>
          <dgm:bulletEnabled val="1"/>
        </dgm:presLayoutVars>
      </dgm:prSet>
      <dgm:spPr/>
      <dgm:t>
        <a:bodyPr/>
        <a:lstStyle/>
        <a:p>
          <a:endParaRPr lang="en-US"/>
        </a:p>
      </dgm:t>
    </dgm:pt>
    <dgm:pt modelId="{192E5344-8F13-4740-92BA-284F46AA744B}" type="pres">
      <dgm:prSet presAssocID="{48DA336B-31F9-4EDE-A51E-A9C565778F2D}" presName="hSp" presStyleCnt="0"/>
      <dgm:spPr/>
    </dgm:pt>
    <dgm:pt modelId="{9B3C904D-55D3-48A7-8B34-92339511EB2D}" type="pres">
      <dgm:prSet presAssocID="{48DA336B-31F9-4EDE-A51E-A9C565778F2D}" presName="vProcSp" presStyleCnt="0"/>
      <dgm:spPr/>
    </dgm:pt>
    <dgm:pt modelId="{CCF66744-41CA-40DA-8D8D-3A85F453B4DF}" type="pres">
      <dgm:prSet presAssocID="{48DA336B-31F9-4EDE-A51E-A9C565778F2D}" presName="vSp1" presStyleCnt="0"/>
      <dgm:spPr/>
    </dgm:pt>
    <dgm:pt modelId="{CC5BE8DC-F4CE-4343-B781-D07BDA4049BA}" type="pres">
      <dgm:prSet presAssocID="{48DA336B-31F9-4EDE-A51E-A9C565778F2D}" presName="simulatedConn" presStyleLbl="solidFgAcc1" presStyleIdx="0" presStyleCnt="3" custLinFactY="-4830" custLinFactNeighborX="-8844" custLinFactNeighborY="-100000"/>
      <dgm:spPr>
        <a:ln>
          <a:solidFill>
            <a:schemeClr val="tx1"/>
          </a:solidFill>
        </a:ln>
      </dgm:spPr>
    </dgm:pt>
    <dgm:pt modelId="{4F130FFD-B0FC-40E8-93E4-301FD313362D}" type="pres">
      <dgm:prSet presAssocID="{48DA336B-31F9-4EDE-A51E-A9C565778F2D}" presName="vSp2" presStyleCnt="0"/>
      <dgm:spPr/>
    </dgm:pt>
    <dgm:pt modelId="{54C3EE7F-EDF1-4E5C-9FFD-B6AA67F733CA}" type="pres">
      <dgm:prSet presAssocID="{48DA336B-31F9-4EDE-A51E-A9C565778F2D}" presName="sibTrans" presStyleCnt="0"/>
      <dgm:spPr/>
    </dgm:pt>
    <dgm:pt modelId="{C7A944BD-9A18-4127-B4D6-56D80C9621A3}" type="pres">
      <dgm:prSet presAssocID="{2FFCDB34-C400-421B-B71A-04E255E3A6B4}" presName="compositeNode" presStyleCnt="0">
        <dgm:presLayoutVars>
          <dgm:bulletEnabled val="1"/>
        </dgm:presLayoutVars>
      </dgm:prSet>
      <dgm:spPr/>
    </dgm:pt>
    <dgm:pt modelId="{55765B98-9E79-476F-8F77-6F3A72A725A6}" type="pres">
      <dgm:prSet presAssocID="{2FFCDB34-C400-421B-B71A-04E255E3A6B4}" presName="bgRect" presStyleLbl="node1" presStyleIdx="1" presStyleCnt="4" custScaleX="65200" custLinFactNeighborX="1016" custLinFactNeighborY="-107"/>
      <dgm:spPr/>
      <dgm:t>
        <a:bodyPr/>
        <a:lstStyle/>
        <a:p>
          <a:endParaRPr lang="en-US"/>
        </a:p>
      </dgm:t>
    </dgm:pt>
    <dgm:pt modelId="{8194833E-9D6D-4082-924F-413214A3D688}" type="pres">
      <dgm:prSet presAssocID="{2FFCDB34-C400-421B-B71A-04E255E3A6B4}" presName="parentNode" presStyleLbl="node1" presStyleIdx="1" presStyleCnt="4">
        <dgm:presLayoutVars>
          <dgm:chMax val="0"/>
          <dgm:bulletEnabled val="1"/>
        </dgm:presLayoutVars>
      </dgm:prSet>
      <dgm:spPr/>
      <dgm:t>
        <a:bodyPr/>
        <a:lstStyle/>
        <a:p>
          <a:endParaRPr lang="en-US"/>
        </a:p>
      </dgm:t>
    </dgm:pt>
    <dgm:pt modelId="{40F4DF02-0A50-42D5-8CF6-F47CD904B8D5}" type="pres">
      <dgm:prSet presAssocID="{0AC3C79A-D65D-445C-8138-A315E32A6E6D}" presName="hSp" presStyleCnt="0"/>
      <dgm:spPr/>
    </dgm:pt>
    <dgm:pt modelId="{EBAED313-B58D-458D-9A84-CB5BF4946973}" type="pres">
      <dgm:prSet presAssocID="{0AC3C79A-D65D-445C-8138-A315E32A6E6D}" presName="vProcSp" presStyleCnt="0"/>
      <dgm:spPr/>
    </dgm:pt>
    <dgm:pt modelId="{960ECE89-E13C-4194-8F3C-7B3A3E16A6F2}" type="pres">
      <dgm:prSet presAssocID="{0AC3C79A-D65D-445C-8138-A315E32A6E6D}" presName="vSp1" presStyleCnt="0"/>
      <dgm:spPr/>
    </dgm:pt>
    <dgm:pt modelId="{66A16925-887F-4986-B7A0-21A5705EA49A}" type="pres">
      <dgm:prSet presAssocID="{0AC3C79A-D65D-445C-8138-A315E32A6E6D}" presName="simulatedConn" presStyleLbl="solidFgAcc1" presStyleIdx="1" presStyleCnt="3" custLinFactY="-20584" custLinFactNeighborX="-2181" custLinFactNeighborY="-100000"/>
      <dgm:spPr>
        <a:ln>
          <a:solidFill>
            <a:schemeClr val="tx1"/>
          </a:solidFill>
        </a:ln>
      </dgm:spPr>
    </dgm:pt>
    <dgm:pt modelId="{9B20A423-7ABA-4011-9984-0F9836AA7A40}" type="pres">
      <dgm:prSet presAssocID="{0AC3C79A-D65D-445C-8138-A315E32A6E6D}" presName="vSp2" presStyleCnt="0"/>
      <dgm:spPr/>
    </dgm:pt>
    <dgm:pt modelId="{F2E29D88-3A02-4B1A-AFFA-B4534174329A}" type="pres">
      <dgm:prSet presAssocID="{0AC3C79A-D65D-445C-8138-A315E32A6E6D}" presName="sibTrans" presStyleCnt="0"/>
      <dgm:spPr/>
    </dgm:pt>
    <dgm:pt modelId="{3AFEFA1F-9099-476D-A3F9-0883627AA047}" type="pres">
      <dgm:prSet presAssocID="{5A373B62-BBEA-4F1D-B30E-C6A0D37A9036}" presName="compositeNode" presStyleCnt="0">
        <dgm:presLayoutVars>
          <dgm:bulletEnabled val="1"/>
        </dgm:presLayoutVars>
      </dgm:prSet>
      <dgm:spPr/>
    </dgm:pt>
    <dgm:pt modelId="{8C8D17DB-A217-48A3-900A-3C60DCB28C28}" type="pres">
      <dgm:prSet presAssocID="{5A373B62-BBEA-4F1D-B30E-C6A0D37A9036}" presName="bgRect" presStyleLbl="node1" presStyleIdx="2" presStyleCnt="4" custScaleX="64419" custLinFactNeighborX="-1009" custLinFactNeighborY="-18227"/>
      <dgm:spPr/>
      <dgm:t>
        <a:bodyPr/>
        <a:lstStyle/>
        <a:p>
          <a:endParaRPr lang="en-US"/>
        </a:p>
      </dgm:t>
    </dgm:pt>
    <dgm:pt modelId="{E5F754C7-44B3-4F7D-B616-FC31A909FF8B}" type="pres">
      <dgm:prSet presAssocID="{5A373B62-BBEA-4F1D-B30E-C6A0D37A9036}" presName="parentNode" presStyleLbl="node1" presStyleIdx="2" presStyleCnt="4">
        <dgm:presLayoutVars>
          <dgm:chMax val="0"/>
          <dgm:bulletEnabled val="1"/>
        </dgm:presLayoutVars>
      </dgm:prSet>
      <dgm:spPr/>
      <dgm:t>
        <a:bodyPr/>
        <a:lstStyle/>
        <a:p>
          <a:endParaRPr lang="en-US"/>
        </a:p>
      </dgm:t>
    </dgm:pt>
    <dgm:pt modelId="{A813B0C9-7787-471D-8912-08F4FF2C9FE8}" type="pres">
      <dgm:prSet presAssocID="{5A373B62-BBEA-4F1D-B30E-C6A0D37A9036}" presName="childNode" presStyleLbl="node1" presStyleIdx="2" presStyleCnt="4">
        <dgm:presLayoutVars>
          <dgm:bulletEnabled val="1"/>
        </dgm:presLayoutVars>
      </dgm:prSet>
      <dgm:spPr/>
      <dgm:t>
        <a:bodyPr/>
        <a:lstStyle/>
        <a:p>
          <a:endParaRPr lang="en-US"/>
        </a:p>
      </dgm:t>
    </dgm:pt>
    <dgm:pt modelId="{2D0A74CD-D5E0-4855-9E77-23C307F92AE5}" type="pres">
      <dgm:prSet presAssocID="{3A318304-CF7A-457D-A26A-A05108C4F173}" presName="hSp" presStyleCnt="0"/>
      <dgm:spPr/>
    </dgm:pt>
    <dgm:pt modelId="{8C8CA3F0-76E5-4421-AC57-7360471D4A27}" type="pres">
      <dgm:prSet presAssocID="{3A318304-CF7A-457D-A26A-A05108C4F173}" presName="vProcSp" presStyleCnt="0"/>
      <dgm:spPr/>
    </dgm:pt>
    <dgm:pt modelId="{64430B7B-6A10-4C3B-AB99-B0F8CA4E5C18}" type="pres">
      <dgm:prSet presAssocID="{3A318304-CF7A-457D-A26A-A05108C4F173}" presName="vSp1" presStyleCnt="0"/>
      <dgm:spPr/>
    </dgm:pt>
    <dgm:pt modelId="{170D0286-CDBC-471B-8D7E-381E86EA9FC5}" type="pres">
      <dgm:prSet presAssocID="{3A318304-CF7A-457D-A26A-A05108C4F173}" presName="simulatedConn" presStyleLbl="solidFgAcc1" presStyleIdx="2" presStyleCnt="3" custLinFactNeighborX="-18814" custLinFactNeighborY="-91470"/>
      <dgm:spPr>
        <a:ln>
          <a:solidFill>
            <a:schemeClr val="tx1"/>
          </a:solidFill>
        </a:ln>
      </dgm:spPr>
    </dgm:pt>
    <dgm:pt modelId="{1482E2EF-11B1-4B7E-A265-D1E9AE608138}" type="pres">
      <dgm:prSet presAssocID="{3A318304-CF7A-457D-A26A-A05108C4F173}" presName="vSp2" presStyleCnt="0"/>
      <dgm:spPr/>
    </dgm:pt>
    <dgm:pt modelId="{D6D9F6F8-A924-402A-BA9F-AB210F1032F0}" type="pres">
      <dgm:prSet presAssocID="{3A318304-CF7A-457D-A26A-A05108C4F173}" presName="sibTrans" presStyleCnt="0"/>
      <dgm:spPr/>
    </dgm:pt>
    <dgm:pt modelId="{62E7A046-B84D-4D73-BE52-ED62EF121BCD}" type="pres">
      <dgm:prSet presAssocID="{C05A5172-6ED1-4FD8-A128-9C28083132F0}" presName="compositeNode" presStyleCnt="0">
        <dgm:presLayoutVars>
          <dgm:bulletEnabled val="1"/>
        </dgm:presLayoutVars>
      </dgm:prSet>
      <dgm:spPr/>
    </dgm:pt>
    <dgm:pt modelId="{C7A8D011-5327-4C8A-B9FA-0ED8036C5794}" type="pres">
      <dgm:prSet presAssocID="{C05A5172-6ED1-4FD8-A128-9C28083132F0}" presName="bgRect" presStyleLbl="node1" presStyleIdx="3" presStyleCnt="4" custScaleX="61622" custLinFactNeighborX="-1448" custLinFactNeighborY="14260"/>
      <dgm:spPr/>
      <dgm:t>
        <a:bodyPr/>
        <a:lstStyle/>
        <a:p>
          <a:endParaRPr lang="en-US"/>
        </a:p>
      </dgm:t>
    </dgm:pt>
    <dgm:pt modelId="{AA238D38-886D-44AF-8EB3-4F8C9BE7416A}" type="pres">
      <dgm:prSet presAssocID="{C05A5172-6ED1-4FD8-A128-9C28083132F0}" presName="parentNode" presStyleLbl="node1" presStyleIdx="3" presStyleCnt="4">
        <dgm:presLayoutVars>
          <dgm:chMax val="0"/>
          <dgm:bulletEnabled val="1"/>
        </dgm:presLayoutVars>
      </dgm:prSet>
      <dgm:spPr/>
      <dgm:t>
        <a:bodyPr/>
        <a:lstStyle/>
        <a:p>
          <a:endParaRPr lang="en-US"/>
        </a:p>
      </dgm:t>
    </dgm:pt>
  </dgm:ptLst>
  <dgm:cxnLst>
    <dgm:cxn modelId="{28E3A19F-8676-4AA2-BF9F-1A5A02F51BA8}" type="presOf" srcId="{5A373B62-BBEA-4F1D-B30E-C6A0D37A9036}" destId="{8C8D17DB-A217-48A3-900A-3C60DCB28C28}" srcOrd="0" destOrd="0" presId="urn:microsoft.com/office/officeart/2005/8/layout/hProcess7"/>
    <dgm:cxn modelId="{1B1FB095-A232-4038-889F-8E3348C76C42}" srcId="{86AD8D1F-4649-4325-BEC2-6DC66B8AC630}" destId="{52C7BE74-1B4C-4C79-A7F5-FD190525BDD2}" srcOrd="0" destOrd="0" parTransId="{BAEE32AE-D8D0-464C-801E-9C7BFB723B46}" sibTransId="{48DA336B-31F9-4EDE-A51E-A9C565778F2D}"/>
    <dgm:cxn modelId="{15927921-9CB8-4114-9BF0-71057FA7C7F1}" type="presOf" srcId="{C05A5172-6ED1-4FD8-A128-9C28083132F0}" destId="{AA238D38-886D-44AF-8EB3-4F8C9BE7416A}" srcOrd="1" destOrd="0" presId="urn:microsoft.com/office/officeart/2005/8/layout/hProcess7"/>
    <dgm:cxn modelId="{42DB2E91-BAE6-48B5-8D95-8ABBBF23E3AF}" type="presOf" srcId="{2FFCDB34-C400-421B-B71A-04E255E3A6B4}" destId="{55765B98-9E79-476F-8F77-6F3A72A725A6}" srcOrd="0" destOrd="0" presId="urn:microsoft.com/office/officeart/2005/8/layout/hProcess7"/>
    <dgm:cxn modelId="{663BDD21-A50F-4564-9FFF-0B8CD1558EC8}" srcId="{52C7BE74-1B4C-4C79-A7F5-FD190525BDD2}" destId="{30D21E9F-32CD-4854-8422-440BD4974F89}" srcOrd="0" destOrd="0" parTransId="{12B817BC-20AB-429C-8039-D1951E0EEE86}" sibTransId="{341389CB-DC3B-4D63-812A-5F129C2D2B84}"/>
    <dgm:cxn modelId="{9082D599-E9D1-46C0-80EC-C7984C3EC8A2}" type="presOf" srcId="{04926F74-5AC4-4F57-B209-2C19906AAD5B}" destId="{A813B0C9-7787-471D-8912-08F4FF2C9FE8}" srcOrd="0" destOrd="0" presId="urn:microsoft.com/office/officeart/2005/8/layout/hProcess7"/>
    <dgm:cxn modelId="{F2F304D0-B291-4EC8-AE9E-C2107133F1C3}" srcId="{86AD8D1F-4649-4325-BEC2-6DC66B8AC630}" destId="{2FFCDB34-C400-421B-B71A-04E255E3A6B4}" srcOrd="1" destOrd="0" parTransId="{B746C6D2-1315-47A3-A69B-90CFF371B73F}" sibTransId="{0AC3C79A-D65D-445C-8138-A315E32A6E6D}"/>
    <dgm:cxn modelId="{839513FC-226D-4F12-A367-999097411731}" srcId="{86AD8D1F-4649-4325-BEC2-6DC66B8AC630}" destId="{C05A5172-6ED1-4FD8-A128-9C28083132F0}" srcOrd="3" destOrd="0" parTransId="{504FA8A6-5076-4E2E-BCF9-3760D0B27B83}" sibTransId="{8DB69D72-07D3-400F-86A0-B91C9A8C6A95}"/>
    <dgm:cxn modelId="{0E32F2EB-E9C2-4B82-A91C-D7479C322D83}" srcId="{86AD8D1F-4649-4325-BEC2-6DC66B8AC630}" destId="{5A373B62-BBEA-4F1D-B30E-C6A0D37A9036}" srcOrd="2" destOrd="0" parTransId="{A5601D50-1979-4FCE-A3D0-FFDB4F6DC8AF}" sibTransId="{3A318304-CF7A-457D-A26A-A05108C4F173}"/>
    <dgm:cxn modelId="{F7C2E69D-169F-4948-BEF6-9955C29A9E10}" type="presOf" srcId="{52C7BE74-1B4C-4C79-A7F5-FD190525BDD2}" destId="{FFFE27BD-6EBC-4F2F-911B-A511E3276A30}" srcOrd="0" destOrd="0" presId="urn:microsoft.com/office/officeart/2005/8/layout/hProcess7"/>
    <dgm:cxn modelId="{B4E8DD3A-B1D8-4150-B75A-8214BFC8EC47}" type="presOf" srcId="{30D21E9F-32CD-4854-8422-440BD4974F89}" destId="{C3197A08-344A-48ED-9281-B5316FCE93D4}" srcOrd="0" destOrd="0" presId="urn:microsoft.com/office/officeart/2005/8/layout/hProcess7"/>
    <dgm:cxn modelId="{512ED51D-11A7-44E9-8EDC-F70139CAC166}" type="presOf" srcId="{86AD8D1F-4649-4325-BEC2-6DC66B8AC630}" destId="{3D825EE4-77D2-4332-A148-C417A0DEF60D}" srcOrd="0" destOrd="0" presId="urn:microsoft.com/office/officeart/2005/8/layout/hProcess7"/>
    <dgm:cxn modelId="{D6AEE76F-BBC6-4444-8568-A9AFAC9D1370}" type="presOf" srcId="{5A373B62-BBEA-4F1D-B30E-C6A0D37A9036}" destId="{E5F754C7-44B3-4F7D-B616-FC31A909FF8B}" srcOrd="1" destOrd="0" presId="urn:microsoft.com/office/officeart/2005/8/layout/hProcess7"/>
    <dgm:cxn modelId="{5F43A0F9-A6D2-45AD-8B02-15EAFB4B6FEA}" type="presOf" srcId="{2FFCDB34-C400-421B-B71A-04E255E3A6B4}" destId="{8194833E-9D6D-4082-924F-413214A3D688}" srcOrd="1" destOrd="0" presId="urn:microsoft.com/office/officeart/2005/8/layout/hProcess7"/>
    <dgm:cxn modelId="{113F4BCE-0CEC-436A-A8AD-401463887E2A}" srcId="{5A373B62-BBEA-4F1D-B30E-C6A0D37A9036}" destId="{04926F74-5AC4-4F57-B209-2C19906AAD5B}" srcOrd="0" destOrd="0" parTransId="{952DEFF3-7B8A-472C-B058-E2A2CA5068AD}" sibTransId="{F5866EA1-00BC-4368-BEB8-540CD046CD7F}"/>
    <dgm:cxn modelId="{47BAACCC-FBEC-4F29-BC0B-F2A7872502A6}" type="presOf" srcId="{C05A5172-6ED1-4FD8-A128-9C28083132F0}" destId="{C7A8D011-5327-4C8A-B9FA-0ED8036C5794}" srcOrd="0" destOrd="0" presId="urn:microsoft.com/office/officeart/2005/8/layout/hProcess7"/>
    <dgm:cxn modelId="{C957ED70-7969-469E-9365-E8444510AE35}" type="presOf" srcId="{52C7BE74-1B4C-4C79-A7F5-FD190525BDD2}" destId="{D8F988C2-FE5D-414E-A9C5-AAA4D0CAABD7}" srcOrd="1" destOrd="0" presId="urn:microsoft.com/office/officeart/2005/8/layout/hProcess7"/>
    <dgm:cxn modelId="{6D3E8EEA-4543-404F-8F2A-07267D2A36D2}" type="presParOf" srcId="{3D825EE4-77D2-4332-A148-C417A0DEF60D}" destId="{0C4DDC97-5738-4F04-8835-1C6362DDDD2A}" srcOrd="0" destOrd="0" presId="urn:microsoft.com/office/officeart/2005/8/layout/hProcess7"/>
    <dgm:cxn modelId="{238BE028-9AC5-4332-A7A8-920DC2D69545}" type="presParOf" srcId="{0C4DDC97-5738-4F04-8835-1C6362DDDD2A}" destId="{FFFE27BD-6EBC-4F2F-911B-A511E3276A30}" srcOrd="0" destOrd="0" presId="urn:microsoft.com/office/officeart/2005/8/layout/hProcess7"/>
    <dgm:cxn modelId="{4DF394E8-95A0-431B-9DFF-80A9ED97B10A}" type="presParOf" srcId="{0C4DDC97-5738-4F04-8835-1C6362DDDD2A}" destId="{D8F988C2-FE5D-414E-A9C5-AAA4D0CAABD7}" srcOrd="1" destOrd="0" presId="urn:microsoft.com/office/officeart/2005/8/layout/hProcess7"/>
    <dgm:cxn modelId="{ABEB0982-E5DF-48B9-BD09-A0E51DFCF839}" type="presParOf" srcId="{0C4DDC97-5738-4F04-8835-1C6362DDDD2A}" destId="{C3197A08-344A-48ED-9281-B5316FCE93D4}" srcOrd="2" destOrd="0" presId="urn:microsoft.com/office/officeart/2005/8/layout/hProcess7"/>
    <dgm:cxn modelId="{F7C19D44-5F9C-4A83-A1EA-E05557400D2C}" type="presParOf" srcId="{3D825EE4-77D2-4332-A148-C417A0DEF60D}" destId="{192E5344-8F13-4740-92BA-284F46AA744B}" srcOrd="1" destOrd="0" presId="urn:microsoft.com/office/officeart/2005/8/layout/hProcess7"/>
    <dgm:cxn modelId="{10E4178E-8509-4CD3-8178-84304B73F655}" type="presParOf" srcId="{3D825EE4-77D2-4332-A148-C417A0DEF60D}" destId="{9B3C904D-55D3-48A7-8B34-92339511EB2D}" srcOrd="2" destOrd="0" presId="urn:microsoft.com/office/officeart/2005/8/layout/hProcess7"/>
    <dgm:cxn modelId="{0FFFBAF1-FB0E-4770-85DF-2DEDD9D478F8}" type="presParOf" srcId="{9B3C904D-55D3-48A7-8B34-92339511EB2D}" destId="{CCF66744-41CA-40DA-8D8D-3A85F453B4DF}" srcOrd="0" destOrd="0" presId="urn:microsoft.com/office/officeart/2005/8/layout/hProcess7"/>
    <dgm:cxn modelId="{6D51EEAF-E3F6-4E0B-B368-C723C2EF2F27}" type="presParOf" srcId="{9B3C904D-55D3-48A7-8B34-92339511EB2D}" destId="{CC5BE8DC-F4CE-4343-B781-D07BDA4049BA}" srcOrd="1" destOrd="0" presId="urn:microsoft.com/office/officeart/2005/8/layout/hProcess7"/>
    <dgm:cxn modelId="{B77EE0BE-53BA-429B-85FC-EF274ED03D6E}" type="presParOf" srcId="{9B3C904D-55D3-48A7-8B34-92339511EB2D}" destId="{4F130FFD-B0FC-40E8-93E4-301FD313362D}" srcOrd="2" destOrd="0" presId="urn:microsoft.com/office/officeart/2005/8/layout/hProcess7"/>
    <dgm:cxn modelId="{1ABCCE6E-FAC2-44DA-9846-4D64AA534083}" type="presParOf" srcId="{3D825EE4-77D2-4332-A148-C417A0DEF60D}" destId="{54C3EE7F-EDF1-4E5C-9FFD-B6AA67F733CA}" srcOrd="3" destOrd="0" presId="urn:microsoft.com/office/officeart/2005/8/layout/hProcess7"/>
    <dgm:cxn modelId="{ECBE5A10-A2F1-45AE-8B8B-83B3927DE3CF}" type="presParOf" srcId="{3D825EE4-77D2-4332-A148-C417A0DEF60D}" destId="{C7A944BD-9A18-4127-B4D6-56D80C9621A3}" srcOrd="4" destOrd="0" presId="urn:microsoft.com/office/officeart/2005/8/layout/hProcess7"/>
    <dgm:cxn modelId="{113E5E6F-0988-40EA-BE2E-80B08FC9289D}" type="presParOf" srcId="{C7A944BD-9A18-4127-B4D6-56D80C9621A3}" destId="{55765B98-9E79-476F-8F77-6F3A72A725A6}" srcOrd="0" destOrd="0" presId="urn:microsoft.com/office/officeart/2005/8/layout/hProcess7"/>
    <dgm:cxn modelId="{4BAD135A-E37F-4D25-9EF3-7F65D49F865B}" type="presParOf" srcId="{C7A944BD-9A18-4127-B4D6-56D80C9621A3}" destId="{8194833E-9D6D-4082-924F-413214A3D688}" srcOrd="1" destOrd="0" presId="urn:microsoft.com/office/officeart/2005/8/layout/hProcess7"/>
    <dgm:cxn modelId="{2766B4B4-321C-48A7-ADF6-B5553EE9A583}" type="presParOf" srcId="{3D825EE4-77D2-4332-A148-C417A0DEF60D}" destId="{40F4DF02-0A50-42D5-8CF6-F47CD904B8D5}" srcOrd="5" destOrd="0" presId="urn:microsoft.com/office/officeart/2005/8/layout/hProcess7"/>
    <dgm:cxn modelId="{E251ACD9-293C-43DA-9FE1-CCB0ED71CFED}" type="presParOf" srcId="{3D825EE4-77D2-4332-A148-C417A0DEF60D}" destId="{EBAED313-B58D-458D-9A84-CB5BF4946973}" srcOrd="6" destOrd="0" presId="urn:microsoft.com/office/officeart/2005/8/layout/hProcess7"/>
    <dgm:cxn modelId="{5FE8E745-623A-4CBB-93BE-BD8B550BCA76}" type="presParOf" srcId="{EBAED313-B58D-458D-9A84-CB5BF4946973}" destId="{960ECE89-E13C-4194-8F3C-7B3A3E16A6F2}" srcOrd="0" destOrd="0" presId="urn:microsoft.com/office/officeart/2005/8/layout/hProcess7"/>
    <dgm:cxn modelId="{3D6A91A7-4953-412C-A64D-41725A3DA075}" type="presParOf" srcId="{EBAED313-B58D-458D-9A84-CB5BF4946973}" destId="{66A16925-887F-4986-B7A0-21A5705EA49A}" srcOrd="1" destOrd="0" presId="urn:microsoft.com/office/officeart/2005/8/layout/hProcess7"/>
    <dgm:cxn modelId="{8166104F-F287-4E0F-90A0-05A0C7872E4A}" type="presParOf" srcId="{EBAED313-B58D-458D-9A84-CB5BF4946973}" destId="{9B20A423-7ABA-4011-9984-0F9836AA7A40}" srcOrd="2" destOrd="0" presId="urn:microsoft.com/office/officeart/2005/8/layout/hProcess7"/>
    <dgm:cxn modelId="{8CC798E5-DB28-4A13-AB35-45C74B785854}" type="presParOf" srcId="{3D825EE4-77D2-4332-A148-C417A0DEF60D}" destId="{F2E29D88-3A02-4B1A-AFFA-B4534174329A}" srcOrd="7" destOrd="0" presId="urn:microsoft.com/office/officeart/2005/8/layout/hProcess7"/>
    <dgm:cxn modelId="{2EB52C31-C5E6-42D1-8B29-77503C17FB89}" type="presParOf" srcId="{3D825EE4-77D2-4332-A148-C417A0DEF60D}" destId="{3AFEFA1F-9099-476D-A3F9-0883627AA047}" srcOrd="8" destOrd="0" presId="urn:microsoft.com/office/officeart/2005/8/layout/hProcess7"/>
    <dgm:cxn modelId="{5046FF19-5773-46A0-9750-CBEBE160D69C}" type="presParOf" srcId="{3AFEFA1F-9099-476D-A3F9-0883627AA047}" destId="{8C8D17DB-A217-48A3-900A-3C60DCB28C28}" srcOrd="0" destOrd="0" presId="urn:microsoft.com/office/officeart/2005/8/layout/hProcess7"/>
    <dgm:cxn modelId="{E71E0680-3D0A-4D76-8A6C-2D907255E0B3}" type="presParOf" srcId="{3AFEFA1F-9099-476D-A3F9-0883627AA047}" destId="{E5F754C7-44B3-4F7D-B616-FC31A909FF8B}" srcOrd="1" destOrd="0" presId="urn:microsoft.com/office/officeart/2005/8/layout/hProcess7"/>
    <dgm:cxn modelId="{8480CC2E-F8A9-4682-908F-352B84433606}" type="presParOf" srcId="{3AFEFA1F-9099-476D-A3F9-0883627AA047}" destId="{A813B0C9-7787-471D-8912-08F4FF2C9FE8}" srcOrd="2" destOrd="0" presId="urn:microsoft.com/office/officeart/2005/8/layout/hProcess7"/>
    <dgm:cxn modelId="{9CE639B8-BF1D-4343-9E73-E47D4E7E814D}" type="presParOf" srcId="{3D825EE4-77D2-4332-A148-C417A0DEF60D}" destId="{2D0A74CD-D5E0-4855-9E77-23C307F92AE5}" srcOrd="9" destOrd="0" presId="urn:microsoft.com/office/officeart/2005/8/layout/hProcess7"/>
    <dgm:cxn modelId="{B3BFC4C2-7493-4FCE-909E-984B11126025}" type="presParOf" srcId="{3D825EE4-77D2-4332-A148-C417A0DEF60D}" destId="{8C8CA3F0-76E5-4421-AC57-7360471D4A27}" srcOrd="10" destOrd="0" presId="urn:microsoft.com/office/officeart/2005/8/layout/hProcess7"/>
    <dgm:cxn modelId="{7AAB9A5D-9995-4D1E-BD0C-A580B329898D}" type="presParOf" srcId="{8C8CA3F0-76E5-4421-AC57-7360471D4A27}" destId="{64430B7B-6A10-4C3B-AB99-B0F8CA4E5C18}" srcOrd="0" destOrd="0" presId="urn:microsoft.com/office/officeart/2005/8/layout/hProcess7"/>
    <dgm:cxn modelId="{D6EB5C57-4B63-4B0C-BAE8-D39FD3BC366A}" type="presParOf" srcId="{8C8CA3F0-76E5-4421-AC57-7360471D4A27}" destId="{170D0286-CDBC-471B-8D7E-381E86EA9FC5}" srcOrd="1" destOrd="0" presId="urn:microsoft.com/office/officeart/2005/8/layout/hProcess7"/>
    <dgm:cxn modelId="{C8BE0D29-60D5-4F40-96BF-83194EB2B923}" type="presParOf" srcId="{8C8CA3F0-76E5-4421-AC57-7360471D4A27}" destId="{1482E2EF-11B1-4B7E-A265-D1E9AE608138}" srcOrd="2" destOrd="0" presId="urn:microsoft.com/office/officeart/2005/8/layout/hProcess7"/>
    <dgm:cxn modelId="{40439252-632F-4F49-A64B-92CDA4471E6E}" type="presParOf" srcId="{3D825EE4-77D2-4332-A148-C417A0DEF60D}" destId="{D6D9F6F8-A924-402A-BA9F-AB210F1032F0}" srcOrd="11" destOrd="0" presId="urn:microsoft.com/office/officeart/2005/8/layout/hProcess7"/>
    <dgm:cxn modelId="{52BBBFBD-41FD-4246-908B-0476BD9849F9}" type="presParOf" srcId="{3D825EE4-77D2-4332-A148-C417A0DEF60D}" destId="{62E7A046-B84D-4D73-BE52-ED62EF121BCD}" srcOrd="12" destOrd="0" presId="urn:microsoft.com/office/officeart/2005/8/layout/hProcess7"/>
    <dgm:cxn modelId="{4F4F256B-8996-4DEC-9BA4-120601D0DD7C}" type="presParOf" srcId="{62E7A046-B84D-4D73-BE52-ED62EF121BCD}" destId="{C7A8D011-5327-4C8A-B9FA-0ED8036C5794}" srcOrd="0" destOrd="0" presId="urn:microsoft.com/office/officeart/2005/8/layout/hProcess7"/>
    <dgm:cxn modelId="{9DE89479-5802-4751-9B0F-10673D1CA667}" type="presParOf" srcId="{62E7A046-B84D-4D73-BE52-ED62EF121BCD}" destId="{AA238D38-886D-44AF-8EB3-4F8C9BE7416A}" srcOrd="1" destOrd="0" presId="urn:microsoft.com/office/officeart/2005/8/layout/hProcess7"/>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E27BD-6EBC-4F2F-911B-A511E3276A30}">
      <dsp:nvSpPr>
        <dsp:cNvPr id="0" name=""/>
        <dsp:cNvSpPr/>
      </dsp:nvSpPr>
      <dsp:spPr>
        <a:xfrm>
          <a:off x="30904"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kern="1200" dirty="0">
            <a:solidFill>
              <a:schemeClr val="accent1">
                <a:lumMod val="40000"/>
                <a:lumOff val="60000"/>
              </a:schemeClr>
            </a:solidFill>
          </a:endParaRPr>
        </a:p>
      </dsp:txBody>
      <dsp:txXfrm rot="16200000">
        <a:off x="-285496" y="316400"/>
        <a:ext cx="1047968" cy="415167"/>
      </dsp:txXfrm>
    </dsp:sp>
    <dsp:sp modelId="{C3197A08-344A-48ED-9281-B5316FCE93D4}">
      <dsp:nvSpPr>
        <dsp:cNvPr id="0" name=""/>
        <dsp:cNvSpPr/>
      </dsp:nvSpPr>
      <dsp:spPr>
        <a:xfrm>
          <a:off x="526399" y="0"/>
          <a:ext cx="1546499"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smtClean="0">
              <a:latin typeface="Tw Cen MT Condensed" panose="020B0606020104020203" pitchFamily="34" charset="0"/>
            </a:rPr>
            <a:t>[Visits]</a:t>
          </a:r>
          <a:endParaRPr lang="en-US" sz="4400" kern="1200" dirty="0">
            <a:latin typeface="Tw Cen MT Condensed" panose="020B0606020104020203" pitchFamily="34" charset="0"/>
          </a:endParaRPr>
        </a:p>
      </dsp:txBody>
      <dsp:txXfrm>
        <a:off x="526399" y="0"/>
        <a:ext cx="1546499" cy="1278009"/>
      </dsp:txXfrm>
    </dsp:sp>
    <dsp:sp modelId="{55765B98-9E79-476F-8F77-6F3A72A725A6}">
      <dsp:nvSpPr>
        <dsp:cNvPr id="0" name=""/>
        <dsp:cNvSpPr/>
      </dsp:nvSpPr>
      <dsp:spPr>
        <a:xfrm>
          <a:off x="2220785"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kern="1200" dirty="0">
            <a:solidFill>
              <a:schemeClr val="accent1">
                <a:lumMod val="40000"/>
                <a:lumOff val="60000"/>
              </a:schemeClr>
            </a:solidFill>
          </a:endParaRPr>
        </a:p>
      </dsp:txBody>
      <dsp:txXfrm rot="16200000">
        <a:off x="1904385" y="316400"/>
        <a:ext cx="1047968" cy="415167"/>
      </dsp:txXfrm>
    </dsp:sp>
    <dsp:sp modelId="{CC5BE8DC-F4CE-4343-B781-D07BDA4049BA}">
      <dsp:nvSpPr>
        <dsp:cNvPr id="0" name=""/>
        <dsp:cNvSpPr/>
      </dsp:nvSpPr>
      <dsp:spPr>
        <a:xfrm rot="5400000">
          <a:off x="2068256" y="75962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8C8D17DB-A217-48A3-900A-3C60DCB28C28}">
      <dsp:nvSpPr>
        <dsp:cNvPr id="0" name=""/>
        <dsp:cNvSpPr/>
      </dsp:nvSpPr>
      <dsp:spPr>
        <a:xfrm>
          <a:off x="4343584" y="0"/>
          <a:ext cx="2050972"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kern="1200" dirty="0">
            <a:solidFill>
              <a:schemeClr val="accent1">
                <a:lumMod val="40000"/>
                <a:lumOff val="60000"/>
              </a:schemeClr>
            </a:solidFill>
          </a:endParaRPr>
        </a:p>
      </dsp:txBody>
      <dsp:txXfrm rot="16200000">
        <a:off x="4024697" y="318886"/>
        <a:ext cx="1047968" cy="410194"/>
      </dsp:txXfrm>
    </dsp:sp>
    <dsp:sp modelId="{66A16925-887F-4986-B7A0-21A5705EA49A}">
      <dsp:nvSpPr>
        <dsp:cNvPr id="0" name=""/>
        <dsp:cNvSpPr/>
      </dsp:nvSpPr>
      <dsp:spPr>
        <a:xfrm rot="5400000">
          <a:off x="4287348" y="730046"/>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A813B0C9-7787-471D-8912-08F4FF2C9FE8}">
      <dsp:nvSpPr>
        <dsp:cNvPr id="0" name=""/>
        <dsp:cNvSpPr/>
      </dsp:nvSpPr>
      <dsp:spPr>
        <a:xfrm>
          <a:off x="4835908" y="0"/>
          <a:ext cx="1527974"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50876" rIns="0" bIns="0" numCol="1" spcCol="1270" anchor="ctr" anchorCtr="0">
          <a:noAutofit/>
        </a:bodyPr>
        <a:lstStyle/>
        <a:p>
          <a:pPr lvl="0" algn="ctr" defTabSz="1955800">
            <a:lnSpc>
              <a:spcPct val="90000"/>
            </a:lnSpc>
            <a:spcBef>
              <a:spcPct val="0"/>
            </a:spcBef>
            <a:spcAft>
              <a:spcPct val="35000"/>
            </a:spcAft>
          </a:pPr>
          <a:r>
            <a:rPr lang="en-US" sz="4400" kern="1200" dirty="0" smtClean="0"/>
            <a:t>[Score]</a:t>
          </a:r>
          <a:endParaRPr lang="en-US" sz="4400" kern="1200" dirty="0"/>
        </a:p>
      </dsp:txBody>
      <dsp:txXfrm>
        <a:off x="4835908" y="0"/>
        <a:ext cx="1527974" cy="1278009"/>
      </dsp:txXfrm>
    </dsp:sp>
    <dsp:sp modelId="{C7A8D011-5327-4C8A-B9FA-0ED8036C5794}">
      <dsp:nvSpPr>
        <dsp:cNvPr id="0" name=""/>
        <dsp:cNvSpPr/>
      </dsp:nvSpPr>
      <dsp:spPr>
        <a:xfrm>
          <a:off x="6492012" y="0"/>
          <a:ext cx="1961921"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82296" rIns="106680" bIns="0" numCol="1" spcCol="1270" anchor="t" anchorCtr="0">
          <a:noAutofit/>
        </a:bodyPr>
        <a:lstStyle/>
        <a:p>
          <a:pPr lvl="0" algn="ctr" defTabSz="1066800">
            <a:lnSpc>
              <a:spcPct val="90000"/>
            </a:lnSpc>
            <a:spcBef>
              <a:spcPct val="0"/>
            </a:spcBef>
            <a:spcAft>
              <a:spcPct val="35000"/>
            </a:spcAft>
          </a:pPr>
          <a:r>
            <a:rPr lang="en-US" sz="2400" kern="1200" cap="all" spc="83" dirty="0">
              <a:solidFill>
                <a:schemeClr val="accent1">
                  <a:lumMod val="40000"/>
                  <a:lumOff val="60000"/>
                </a:schemeClr>
              </a:solidFill>
              <a:latin typeface="Tw Cen MT Condensed" panose="020B0606020104020203"/>
              <a:ea typeface="MS PGothic" pitchFamily="34" charset="-128"/>
            </a:rPr>
            <a:t>YTD Score</a:t>
          </a:r>
        </a:p>
      </dsp:txBody>
      <dsp:txXfrm rot="16200000">
        <a:off x="6164220" y="327791"/>
        <a:ext cx="1047968" cy="392384"/>
      </dsp:txXfrm>
    </dsp:sp>
    <dsp:sp modelId="{170D0286-CDBC-471B-8D7E-381E86EA9FC5}">
      <dsp:nvSpPr>
        <dsp:cNvPr id="0" name=""/>
        <dsp:cNvSpPr/>
      </dsp:nvSpPr>
      <dsp:spPr>
        <a:xfrm rot="5400000">
          <a:off x="6370319" y="77616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8D4DC83-3E1D-4C1F-AB39-E22BAFEFEAA8}" type="datetimeFigureOut">
              <a:rPr lang="en-US" smtClean="0"/>
              <a:pPr/>
              <a:t>8/2/20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061742E-D0C1-4A87-B7A2-7A7FD8B265EB}" type="slidenum">
              <a:rPr lang="en-US" smtClean="0"/>
              <a:pPr/>
              <a:t>‹#›</a:t>
            </a:fld>
            <a:endParaRPr lang="en-US" dirty="0"/>
          </a:p>
        </p:txBody>
      </p:sp>
    </p:spTree>
    <p:extLst>
      <p:ext uri="{BB962C8B-B14F-4D97-AF65-F5344CB8AC3E}">
        <p14:creationId xmlns:p14="http://schemas.microsoft.com/office/powerpoint/2010/main" val="1583885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2</a:t>
            </a:fld>
            <a:endParaRPr lang="en-US"/>
          </a:p>
        </p:txBody>
      </p:sp>
    </p:spTree>
    <p:extLst>
      <p:ext uri="{BB962C8B-B14F-4D97-AF65-F5344CB8AC3E}">
        <p14:creationId xmlns:p14="http://schemas.microsoft.com/office/powerpoint/2010/main" val="3974978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1742E-D0C1-4A87-B7A2-7A7FD8B265EB}"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7361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3</a:t>
            </a:fld>
            <a:endParaRPr lang="en-US"/>
          </a:p>
        </p:txBody>
      </p:sp>
    </p:spTree>
    <p:extLst>
      <p:ext uri="{BB962C8B-B14F-4D97-AF65-F5344CB8AC3E}">
        <p14:creationId xmlns:p14="http://schemas.microsoft.com/office/powerpoint/2010/main" val="258725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4</a:t>
            </a:fld>
            <a:endParaRPr lang="en-US"/>
          </a:p>
        </p:txBody>
      </p:sp>
    </p:spTree>
    <p:extLst>
      <p:ext uri="{BB962C8B-B14F-4D97-AF65-F5344CB8AC3E}">
        <p14:creationId xmlns:p14="http://schemas.microsoft.com/office/powerpoint/2010/main" val="3285567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5</a:t>
            </a:fld>
            <a:endParaRPr lang="en-US"/>
          </a:p>
        </p:txBody>
      </p:sp>
    </p:spTree>
    <p:extLst>
      <p:ext uri="{BB962C8B-B14F-4D97-AF65-F5344CB8AC3E}">
        <p14:creationId xmlns:p14="http://schemas.microsoft.com/office/powerpoint/2010/main" val="1292637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6</a:t>
            </a:fld>
            <a:endParaRPr lang="en-US"/>
          </a:p>
        </p:txBody>
      </p:sp>
    </p:spTree>
    <p:extLst>
      <p:ext uri="{BB962C8B-B14F-4D97-AF65-F5344CB8AC3E}">
        <p14:creationId xmlns:p14="http://schemas.microsoft.com/office/powerpoint/2010/main" val="3592560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7</a:t>
            </a:fld>
            <a:endParaRPr lang="en-US"/>
          </a:p>
        </p:txBody>
      </p:sp>
    </p:spTree>
    <p:extLst>
      <p:ext uri="{BB962C8B-B14F-4D97-AF65-F5344CB8AC3E}">
        <p14:creationId xmlns:p14="http://schemas.microsoft.com/office/powerpoint/2010/main" val="1992432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8</a:t>
            </a:fld>
            <a:endParaRPr lang="en-US"/>
          </a:p>
        </p:txBody>
      </p:sp>
    </p:spTree>
    <p:extLst>
      <p:ext uri="{BB962C8B-B14F-4D97-AF65-F5344CB8AC3E}">
        <p14:creationId xmlns:p14="http://schemas.microsoft.com/office/powerpoint/2010/main" val="3043672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9</a:t>
            </a:fld>
            <a:endParaRPr lang="en-US"/>
          </a:p>
        </p:txBody>
      </p:sp>
    </p:spTree>
    <p:extLst>
      <p:ext uri="{BB962C8B-B14F-4D97-AF65-F5344CB8AC3E}">
        <p14:creationId xmlns:p14="http://schemas.microsoft.com/office/powerpoint/2010/main" val="401955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10</a:t>
            </a:fld>
            <a:endParaRPr lang="en-US"/>
          </a:p>
        </p:txBody>
      </p:sp>
    </p:spTree>
    <p:extLst>
      <p:ext uri="{BB962C8B-B14F-4D97-AF65-F5344CB8AC3E}">
        <p14:creationId xmlns:p14="http://schemas.microsoft.com/office/powerpoint/2010/main" val="3064425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4961"/>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0265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9780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29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9028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1066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961"/>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9803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9540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6"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4" name="Content Placeholder 3"/>
          <p:cNvSpPr>
            <a:spLocks noGrp="1"/>
          </p:cNvSpPr>
          <p:nvPr>
            <p:ph sz="half" idx="2"/>
          </p:nvPr>
        </p:nvSpPr>
        <p:spPr>
          <a:xfrm>
            <a:off x="839789"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7271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1282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303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58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8267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92">
                <a:solidFill>
                  <a:schemeClr val="tx1">
                    <a:tint val="75000"/>
                  </a:schemeClr>
                </a:solidFill>
              </a:defRPr>
            </a:lvl1pPr>
          </a:lstStyle>
          <a:p>
            <a:fld id="{05922B1D-C93B-49F6-B879-FE764F0FB224}" type="datetimeFigureOut">
              <a:rPr lang="en-US" smtClean="0">
                <a:solidFill>
                  <a:prstClr val="black">
                    <a:tint val="75000"/>
                  </a:prstClr>
                </a:solidFill>
                <a:ea typeface="MS PGothic" pitchFamily="34" charset="-128"/>
              </a:rPr>
              <a:pPr/>
              <a:t>8/2/2017</a:t>
            </a:fld>
            <a:endParaRPr lang="en-US" dirty="0">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dirty="0">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92">
                <a:solidFill>
                  <a:schemeClr val="tx1">
                    <a:tint val="75000"/>
                  </a:schemeClr>
                </a:solidFill>
              </a:defRPr>
            </a:lvl1pPr>
          </a:lstStyle>
          <a:p>
            <a:fld id="{BCDAA6B2-F4D7-4315-96A8-6CC3B8155282}" type="slidenum">
              <a:rPr lang="en-US" smtClean="0">
                <a:solidFill>
                  <a:prstClr val="black">
                    <a:tint val="75000"/>
                  </a:prstClr>
                </a:solidFill>
                <a:ea typeface="MS PGothic" pitchFamily="34" charset="-128"/>
              </a:rPr>
              <a:pPr/>
              <a:t>‹#›</a:t>
            </a:fld>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5118951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Layout" Target="../diagrams/layout1.xml"/><Relationship Id="rId11" Type="http://schemas.openxmlformats.org/officeDocument/2006/relationships/chart" Target="../charts/chart2.xml"/><Relationship Id="rId5" Type="http://schemas.openxmlformats.org/officeDocument/2006/relationships/diagramData" Target="../diagrams/data1.xml"/><Relationship Id="rId10" Type="http://schemas.openxmlformats.org/officeDocument/2006/relationships/chart" Target="../charts/chart1.xml"/><Relationship Id="rId4" Type="http://schemas.openxmlformats.org/officeDocument/2006/relationships/image" Target="../media/image7.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50301" y="1716452"/>
            <a:ext cx="8136904" cy="1865126"/>
          </a:xfrm>
          <a:prstGeom prst="rect">
            <a:avLst/>
          </a:prstGeom>
        </p:spPr>
        <p:txBody>
          <a:bodyPr wrap="square">
            <a:spAutoFit/>
          </a:bodyPr>
          <a:lstStyle/>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Quality Control &amp; service excellence Department</a:t>
            </a:r>
          </a:p>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Mystery Shopper services evaluations Report</a:t>
            </a:r>
            <a:br>
              <a:rPr lang="en-US" altLang="en-US" sz="3200" cap="all" spc="83" dirty="0">
                <a:solidFill>
                  <a:srgbClr val="000000"/>
                </a:solidFill>
                <a:latin typeface="Tw Cen MT Condensed" panose="020B0606020104020203"/>
                <a:ea typeface="MS PGothic" pitchFamily="34" charset="-128"/>
              </a:rPr>
            </a:br>
            <a:r>
              <a:rPr lang="en-US" altLang="en-US" sz="3200" cap="all" spc="83" dirty="0">
                <a:solidFill>
                  <a:srgbClr val="000000"/>
                </a:solidFill>
                <a:latin typeface="Tw Cen MT Condensed" panose="020B0606020104020203"/>
                <a:ea typeface="MS PGothic" pitchFamily="34" charset="-128"/>
              </a:rPr>
              <a:t>TDM Guest Services</a:t>
            </a:r>
          </a:p>
        </p:txBody>
      </p:sp>
      <p:sp>
        <p:nvSpPr>
          <p:cNvPr id="9" name="Rectangle 8"/>
          <p:cNvSpPr/>
          <p:nvPr/>
        </p:nvSpPr>
        <p:spPr>
          <a:xfrm>
            <a:off x="7863370" y="5414523"/>
            <a:ext cx="2158052" cy="397673"/>
          </a:xfrm>
          <a:prstGeom prst="rect">
            <a:avLst/>
          </a:prstGeom>
        </p:spPr>
        <p:txBody>
          <a:bodyPr wrap="square">
            <a:spAutoFit/>
          </a:bodyPr>
          <a:lstStyle/>
          <a:p>
            <a:r>
              <a:rPr lang="en-US" sz="1984" b="1" cap="all" spc="83" dirty="0">
                <a:solidFill>
                  <a:prstClr val="black">
                    <a:lumMod val="95000"/>
                    <a:lumOff val="5000"/>
                  </a:prstClr>
                </a:solidFill>
                <a:latin typeface="Calibri Light" panose="020F0302020204030204"/>
                <a:ea typeface="MS PGothic" pitchFamily="34" charset="-128"/>
              </a:rPr>
              <a:t>April 2017</a:t>
            </a:r>
            <a:endParaRPr lang="en-US" sz="1488" dirty="0">
              <a:solidFill>
                <a:prstClr val="black"/>
              </a:solidFill>
              <a:ea typeface="MS PGothic" pitchFamily="34" charset="-128"/>
            </a:endParaRPr>
          </a:p>
        </p:txBody>
      </p:sp>
      <p:cxnSp>
        <p:nvCxnSpPr>
          <p:cNvPr id="13" name="Straight Connector 12"/>
          <p:cNvCxnSpPr/>
          <p:nvPr/>
        </p:nvCxnSpPr>
        <p:spPr>
          <a:xfrm>
            <a:off x="7843186" y="5339039"/>
            <a:ext cx="0" cy="54864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1" name="Picture 7" descr="cid:image008.jpg@01D12C30.BDD7216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787205" y="521343"/>
            <a:ext cx="83820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3"/>
          <a:srcRect b="9279"/>
          <a:stretch/>
        </p:blipFill>
        <p:spPr>
          <a:xfrm>
            <a:off x="1185059" y="3392893"/>
            <a:ext cx="5742412" cy="260477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948" y="521343"/>
            <a:ext cx="3027576" cy="843065"/>
          </a:xfrm>
          <a:prstGeom prst="rect">
            <a:avLst/>
          </a:prstGeom>
        </p:spPr>
      </p:pic>
    </p:spTree>
    <p:extLst>
      <p:ext uri="{BB962C8B-B14F-4D97-AF65-F5344CB8AC3E}">
        <p14:creationId xmlns:p14="http://schemas.microsoft.com/office/powerpoint/2010/main" val="307228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10</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356651768"/>
              </p:ext>
            </p:extLst>
          </p:nvPr>
        </p:nvGraphicFramePr>
        <p:xfrm>
          <a:off x="152113" y="782988"/>
          <a:ext cx="11646187" cy="5538322"/>
        </p:xfrm>
        <a:graphic>
          <a:graphicData uri="http://schemas.openxmlformats.org/drawingml/2006/table">
            <a:tbl>
              <a:tblPr firstRow="1" bandRow="1">
                <a:tableStyleId>{073A0DAA-6AF3-43AB-8588-CEC1D06C72B9}</a:tableStyleId>
              </a:tblPr>
              <a:tblGrid>
                <a:gridCol w="791901">
                  <a:extLst>
                    <a:ext uri="{9D8B030D-6E8A-4147-A177-3AD203B41FA5}">
                      <a16:colId xmlns="" xmlns:a16="http://schemas.microsoft.com/office/drawing/2014/main" val="20000"/>
                    </a:ext>
                  </a:extLst>
                </a:gridCol>
                <a:gridCol w="1075286">
                  <a:extLst>
                    <a:ext uri="{9D8B030D-6E8A-4147-A177-3AD203B41FA5}">
                      <a16:colId xmlns="" xmlns:a16="http://schemas.microsoft.com/office/drawing/2014/main" val="3421738776"/>
                    </a:ext>
                  </a:extLst>
                </a:gridCol>
                <a:gridCol w="800100">
                  <a:extLst>
                    <a:ext uri="{9D8B030D-6E8A-4147-A177-3AD203B41FA5}">
                      <a16:colId xmlns="" xmlns:a16="http://schemas.microsoft.com/office/drawing/2014/main" val="20001"/>
                    </a:ext>
                  </a:extLst>
                </a:gridCol>
                <a:gridCol w="2032000">
                  <a:extLst>
                    <a:ext uri="{9D8B030D-6E8A-4147-A177-3AD203B41FA5}">
                      <a16:colId xmlns="" xmlns:a16="http://schemas.microsoft.com/office/drawing/2014/main" val="20002"/>
                    </a:ext>
                  </a:extLst>
                </a:gridCol>
                <a:gridCol w="3644900">
                  <a:extLst>
                    <a:ext uri="{9D8B030D-6E8A-4147-A177-3AD203B41FA5}">
                      <a16:colId xmlns="" xmlns:a16="http://schemas.microsoft.com/office/drawing/2014/main" val="20003"/>
                    </a:ext>
                  </a:extLst>
                </a:gridCol>
                <a:gridCol w="3302000">
                  <a:extLst>
                    <a:ext uri="{9D8B030D-6E8A-4147-A177-3AD203B41FA5}">
                      <a16:colId xmlns="" xmlns:a16="http://schemas.microsoft.com/office/drawing/2014/main" val="20004"/>
                    </a:ext>
                  </a:extLst>
                </a:gridCol>
              </a:tblGrid>
              <a:tr h="450075">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5007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7">
                  <a:txBody>
                    <a:bodyPr/>
                    <a:lstStyle/>
                    <a:p>
                      <a:pPr algn="l" fontAlgn="ctr"/>
                      <a:r>
                        <a:rPr lang="en-US" sz="1200" b="1" i="0" u="none" strike="noStrike" dirty="0">
                          <a:solidFill>
                            <a:srgbClr val="000000"/>
                          </a:solidFill>
                          <a:effectLst/>
                          <a:latin typeface="Tw Cen MT" panose="020B0602020104020603" pitchFamily="34" charset="0"/>
                        </a:rPr>
                        <a:t>GF Star Atrium</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and informed the guest about the banks area and the closing timings.</a:t>
                      </a:r>
                    </a:p>
                  </a:txBody>
                  <a:tcPr marL="9525" marR="9525" marT="9525" marB="0" anchor="b">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a name tag; she was wearing a Abaya.</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friendly.</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63505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with a smile and</a:t>
                      </a:r>
                      <a:r>
                        <a:rPr lang="en-US" sz="1200" b="0" i="0" u="none" strike="noStrike" baseline="0" dirty="0">
                          <a:solidFill>
                            <a:srgbClr val="000000"/>
                          </a:solidFill>
                          <a:effectLst/>
                          <a:latin typeface="Tw Cen MT" panose="020B0602020104020603" pitchFamily="34" charset="0"/>
                        </a:rPr>
                        <a:t> asked customer how she may help.</a:t>
                      </a:r>
                    </a:p>
                    <a:p>
                      <a:pPr marL="171450" indent="-171450" algn="l" fontAlgn="ctr">
                        <a:buFont typeface="Arial" panose="020B0604020202020204" pitchFamily="34" charset="0"/>
                        <a:buChar char="•"/>
                      </a:pPr>
                      <a:r>
                        <a:rPr lang="en-US" sz="1200" b="0" i="0" u="none" strike="noStrike" baseline="0" dirty="0">
                          <a:solidFill>
                            <a:srgbClr val="000000"/>
                          </a:solidFill>
                          <a:effectLst/>
                          <a:latin typeface="Tw Cen MT" panose="020B0602020104020603" pitchFamily="34" charset="0"/>
                        </a:rPr>
                        <a:t>Associate was helpful.</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 in the mall, she informed the guest about caboodle only and when the guest asked about other play area she informed the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price and timing she had to ask her colleague "Brian".</a:t>
                      </a:r>
                    </a:p>
                  </a:txBody>
                  <a:tcPr marL="9525" marR="9525" marT="9525" marB="0" anchor="ctr">
                    <a:solidFill>
                      <a:schemeClr val="bg1">
                        <a:lumMod val="85000"/>
                      </a:schemeClr>
                    </a:solidFill>
                  </a:tcPr>
                </a:tc>
                <a:extLst>
                  <a:ext uri="{0D108BD9-81ED-4DB2-BD59-A6C34878D82A}">
                    <a16:rowId xmlns="" xmlns:a16="http://schemas.microsoft.com/office/drawing/2014/main" val="2903103802"/>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name tag, she was wearing black T shirt with UAE flag</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1061087">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helpfu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was </a:t>
                      </a:r>
                      <a:r>
                        <a:rPr lang="en-US" sz="1200" b="0" i="0" u="none" strike="noStrike" dirty="0">
                          <a:solidFill>
                            <a:srgbClr val="000000"/>
                          </a:solidFill>
                          <a:effectLst/>
                          <a:latin typeface="Tw Cen MT" panose="020B0602020104020603" pitchFamily="34" charset="0"/>
                        </a:rPr>
                        <a:t>not aware about the prices &amp; timing of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ssociate</a:t>
                      </a:r>
                      <a:r>
                        <a:rPr lang="en-US" sz="1200" b="0" i="0" u="none" strike="noStrike" baseline="0" dirty="0">
                          <a:solidFill>
                            <a:srgbClr val="000000"/>
                          </a:solidFill>
                          <a:effectLst/>
                          <a:latin typeface="Tw Cen MT" panose="020B0602020104020603" pitchFamily="34" charset="0"/>
                        </a:rPr>
                        <a:t> provided guest with the wrong pricing for </a:t>
                      </a:r>
                      <a:r>
                        <a:rPr lang="en-US" sz="1200" b="0" i="0" u="none" strike="noStrike" baseline="0" dirty="0" err="1">
                          <a:solidFill>
                            <a:srgbClr val="000000"/>
                          </a:solidFill>
                          <a:effectLst/>
                          <a:latin typeface="Tw Cen MT" panose="020B0602020104020603" pitchFamily="34" charset="0"/>
                        </a:rPr>
                        <a:t>Kidzania</a:t>
                      </a:r>
                      <a:r>
                        <a:rPr lang="en-US" sz="1200" b="0" i="0" u="none" strike="noStrike" baseline="0" dirty="0">
                          <a:solidFill>
                            <a:srgbClr val="000000"/>
                          </a:solidFill>
                          <a:effectLst/>
                          <a:latin typeface="Tw Cen MT" panose="020B0602020104020603" pitchFamily="34" charset="0"/>
                        </a:rPr>
                        <a:t>.</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600217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stretch>
            <a:fillRect/>
          </a:stretch>
        </p:blipFill>
        <p:spPr>
          <a:xfrm>
            <a:off x="11655541" y="6342742"/>
            <a:ext cx="423410" cy="423410"/>
          </a:xfrm>
          <a:prstGeom prst="rect">
            <a:avLst/>
          </a:prstGeom>
        </p:spPr>
      </p:pic>
      <p:sp>
        <p:nvSpPr>
          <p:cNvPr id="3" name="Slide Number Placeholder 2"/>
          <p:cNvSpPr>
            <a:spLocks noGrp="1"/>
          </p:cNvSpPr>
          <p:nvPr>
            <p:ph type="sldNum" sz="quarter" idx="12"/>
          </p:nvPr>
        </p:nvSpPr>
        <p:spPr>
          <a:xfrm>
            <a:off x="8912341" y="6440438"/>
            <a:ext cx="2743200" cy="365125"/>
          </a:xfrm>
        </p:spPr>
        <p:txBody>
          <a:bodyPr/>
          <a:lstStyle/>
          <a:p>
            <a:fld id="{BCDAA6B2-F4D7-4315-96A8-6CC3B8155282}" type="slidenum">
              <a:rPr lang="en-US" smtClean="0">
                <a:solidFill>
                  <a:prstClr val="black">
                    <a:tint val="75000"/>
                  </a:prstClr>
                </a:solidFill>
              </a:rPr>
              <a:pPr/>
              <a:t>11</a:t>
            </a:fld>
            <a:endParaRPr lang="en-US" dirty="0">
              <a:solidFill>
                <a:prstClr val="black">
                  <a:tint val="75000"/>
                </a:prstClr>
              </a:solidFill>
            </a:endParaRPr>
          </a:p>
        </p:txBody>
      </p:sp>
      <p:sp>
        <p:nvSpPr>
          <p:cNvPr id="8" name="Rectangle 7"/>
          <p:cNvSpPr/>
          <p:nvPr/>
        </p:nvSpPr>
        <p:spPr>
          <a:xfrm>
            <a:off x="380088" y="123247"/>
            <a:ext cx="6404054" cy="1200329"/>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MS service evaluation </a:t>
            </a:r>
          </a:p>
          <a:p>
            <a:pPr fontAlgn="base">
              <a:spcBef>
                <a:spcPct val="0"/>
              </a:spcBef>
              <a:spcAft>
                <a:spcPct val="0"/>
              </a:spcAft>
            </a:pPr>
            <a:r>
              <a:rPr lang="en-US" altLang="en-US" sz="2400" cap="all" spc="83">
                <a:solidFill>
                  <a:srgbClr val="000000"/>
                </a:solidFill>
                <a:latin typeface="Tw Cen MT Condensed" panose="020B0606020104020203"/>
                <a:ea typeface="MS PGothic" pitchFamily="34" charset="-128"/>
              </a:rPr>
              <a:t>tDM</a:t>
            </a:r>
            <a:r>
              <a:rPr lang="en-US" altLang="en-US" sz="2400" cap="all" spc="83" dirty="0">
                <a:solidFill>
                  <a:srgbClr val="000000"/>
                </a:solidFill>
                <a:latin typeface="Tw Cen MT Condensed" panose="020B0606020104020203"/>
                <a:ea typeface="MS PGothic" pitchFamily="34" charset="-128"/>
              </a:rPr>
              <a:t> Guest service</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Questionnaire</a:t>
            </a:r>
          </a:p>
        </p:txBody>
      </p:sp>
      <p:cxnSp>
        <p:nvCxnSpPr>
          <p:cNvPr id="9" name="Straight Connector 8"/>
          <p:cNvCxnSpPr/>
          <p:nvPr/>
        </p:nvCxnSpPr>
        <p:spPr>
          <a:xfrm>
            <a:off x="322032" y="206662"/>
            <a:ext cx="0" cy="1188720"/>
          </a:xfrm>
          <a:prstGeom prst="line">
            <a:avLst/>
          </a:prstGeom>
          <a:noFill/>
          <a:ln w="9525" cap="flat" cmpd="sng" algn="ctr">
            <a:solidFill>
              <a:srgbClr val="0070C0"/>
            </a:solidFill>
            <a:prstDash val="solid"/>
          </a:ln>
          <a:effectLst/>
        </p:spPr>
      </p:cxnSp>
      <p:grpSp>
        <p:nvGrpSpPr>
          <p:cNvPr id="10" name="Group 9"/>
          <p:cNvGrpSpPr/>
          <p:nvPr/>
        </p:nvGrpSpPr>
        <p:grpSpPr>
          <a:xfrm>
            <a:off x="543154" y="1912913"/>
            <a:ext cx="1552575" cy="4273550"/>
            <a:chOff x="1790700" y="792164"/>
            <a:chExt cx="1552575" cy="4273550"/>
          </a:xfrm>
        </p:grpSpPr>
        <p:grpSp>
          <p:nvGrpSpPr>
            <p:cNvPr id="11" name="Group 6"/>
            <p:cNvGrpSpPr>
              <a:grpSpLocks/>
            </p:cNvGrpSpPr>
            <p:nvPr/>
          </p:nvGrpSpPr>
          <p:grpSpPr bwMode="auto">
            <a:xfrm>
              <a:off x="1790700" y="977901"/>
              <a:ext cx="1149350" cy="4087813"/>
              <a:chOff x="2858713" y="1568450"/>
              <a:chExt cx="890265" cy="3291180"/>
            </a:xfrm>
          </p:grpSpPr>
          <p:sp>
            <p:nvSpPr>
              <p:cNvPr id="13" name="Oval 12"/>
              <p:cNvSpPr/>
              <p:nvPr>
                <p:custDataLst>
                  <p:tags r:id="rId1"/>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sp>
            <p:nvSpPr>
              <p:cNvPr id="14" name="Oval 13"/>
              <p:cNvSpPr/>
              <p:nvPr>
                <p:custDataLst>
                  <p:tags r:id="rId2"/>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grpSp>
            <p:nvGrpSpPr>
              <p:cNvPr id="15" name="Group 9"/>
              <p:cNvGrpSpPr>
                <a:grpSpLocks/>
              </p:cNvGrpSpPr>
              <p:nvPr>
                <p:custDataLst>
                  <p:tags r:id="rId3"/>
                </p:custDataLst>
              </p:nvPr>
            </p:nvGrpSpPr>
            <p:grpSpPr bwMode="auto">
              <a:xfrm flipH="1">
                <a:off x="2858713" y="1568450"/>
                <a:ext cx="890265" cy="3245066"/>
                <a:chOff x="2862827" y="3366484"/>
                <a:chExt cx="255778" cy="932325"/>
              </a:xfrm>
            </p:grpSpPr>
            <p:sp>
              <p:nvSpPr>
                <p:cNvPr id="17" name="Freeform 289"/>
                <p:cNvSpPr>
                  <a:spLocks/>
                </p:cNvSpPr>
                <p:nvPr/>
              </p:nvSpPr>
              <p:spPr bwMode="auto">
                <a:xfrm>
                  <a:off x="2862827" y="3519245"/>
                  <a:ext cx="62531" cy="254111"/>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8" name="Freeform 290"/>
                <p:cNvSpPr>
                  <a:spLocks/>
                </p:cNvSpPr>
                <p:nvPr/>
              </p:nvSpPr>
              <p:spPr bwMode="auto">
                <a:xfrm>
                  <a:off x="2941963" y="3482156"/>
                  <a:ext cx="56879" cy="156065"/>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9" name="Freeform 291"/>
                <p:cNvSpPr>
                  <a:spLocks/>
                </p:cNvSpPr>
                <p:nvPr/>
              </p:nvSpPr>
              <p:spPr bwMode="auto">
                <a:xfrm>
                  <a:off x="2928891" y="3504556"/>
                  <a:ext cx="58999" cy="133666"/>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0" name="Freeform 292"/>
                <p:cNvSpPr>
                  <a:spLocks noEditPoints="1"/>
                </p:cNvSpPr>
                <p:nvPr/>
              </p:nvSpPr>
              <p:spPr bwMode="auto">
                <a:xfrm>
                  <a:off x="2880844" y="3509697"/>
                  <a:ext cx="107045" cy="243462"/>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1" name="Freeform 293"/>
                <p:cNvSpPr>
                  <a:spLocks/>
                </p:cNvSpPr>
                <p:nvPr/>
              </p:nvSpPr>
              <p:spPr bwMode="auto">
                <a:xfrm>
                  <a:off x="2901335" y="3615822"/>
                  <a:ext cx="37802" cy="125587"/>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2" name="Freeform 294"/>
                <p:cNvSpPr>
                  <a:spLocks/>
                </p:cNvSpPr>
                <p:nvPr/>
              </p:nvSpPr>
              <p:spPr bwMode="auto">
                <a:xfrm>
                  <a:off x="2961040" y="3630877"/>
                  <a:ext cx="22257" cy="112735"/>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3" name="Freeform 295"/>
                <p:cNvSpPr>
                  <a:spLocks noEditPoints="1"/>
                </p:cNvSpPr>
                <p:nvPr/>
              </p:nvSpPr>
              <p:spPr bwMode="auto">
                <a:xfrm>
                  <a:off x="2937017" y="3521081"/>
                  <a:ext cx="50873" cy="117141"/>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4" name="Freeform 296"/>
                <p:cNvSpPr>
                  <a:spLocks/>
                </p:cNvSpPr>
                <p:nvPr/>
              </p:nvSpPr>
              <p:spPr bwMode="auto">
                <a:xfrm>
                  <a:off x="2964573" y="3529160"/>
                  <a:ext cx="13071" cy="81521"/>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5" name="Freeform 297"/>
                <p:cNvSpPr>
                  <a:spLocks/>
                </p:cNvSpPr>
                <p:nvPr/>
              </p:nvSpPr>
              <p:spPr bwMode="auto">
                <a:xfrm>
                  <a:off x="2908754" y="3624268"/>
                  <a:ext cx="20137" cy="81521"/>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6" name="Freeform 298"/>
                <p:cNvSpPr>
                  <a:spLocks/>
                </p:cNvSpPr>
                <p:nvPr/>
              </p:nvSpPr>
              <p:spPr bwMode="auto">
                <a:xfrm>
                  <a:off x="2916526" y="3550458"/>
                  <a:ext cx="56879" cy="208577"/>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7" name="Freeform 299"/>
                <p:cNvSpPr>
                  <a:spLocks/>
                </p:cNvSpPr>
                <p:nvPr/>
              </p:nvSpPr>
              <p:spPr bwMode="auto">
                <a:xfrm>
                  <a:off x="2922532" y="3743612"/>
                  <a:ext cx="70304" cy="60223"/>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8" name="Freeform 300"/>
                <p:cNvSpPr>
                  <a:spLocks/>
                </p:cNvSpPr>
                <p:nvPr/>
              </p:nvSpPr>
              <p:spPr bwMode="auto">
                <a:xfrm>
                  <a:off x="2878018" y="3748019"/>
                  <a:ext cx="188301" cy="300747"/>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9" name="Freeform 301"/>
                <p:cNvSpPr>
                  <a:spLocks/>
                </p:cNvSpPr>
                <p:nvPr/>
              </p:nvSpPr>
              <p:spPr bwMode="auto">
                <a:xfrm>
                  <a:off x="2947262" y="3768215"/>
                  <a:ext cx="44161" cy="3047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0" name="Freeform 302"/>
                <p:cNvSpPr>
                  <a:spLocks/>
                </p:cNvSpPr>
                <p:nvPr/>
              </p:nvSpPr>
              <p:spPr bwMode="auto">
                <a:xfrm>
                  <a:off x="2937723" y="3770418"/>
                  <a:ext cx="33209" cy="24236"/>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1" name="Freeform 304"/>
                <p:cNvSpPr>
                  <a:spLocks/>
                </p:cNvSpPr>
                <p:nvPr/>
              </p:nvSpPr>
              <p:spPr bwMode="auto">
                <a:xfrm>
                  <a:off x="2932424" y="3777028"/>
                  <a:ext cx="32149" cy="2386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2" name="Freeform 305"/>
                <p:cNvSpPr>
                  <a:spLocks/>
                </p:cNvSpPr>
                <p:nvPr/>
              </p:nvSpPr>
              <p:spPr bwMode="auto">
                <a:xfrm>
                  <a:off x="2913700" y="3743612"/>
                  <a:ext cx="42041" cy="62426"/>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3" name="Freeform 306"/>
                <p:cNvSpPr>
                  <a:spLocks noEditPoints="1"/>
                </p:cNvSpPr>
                <p:nvPr/>
              </p:nvSpPr>
              <p:spPr bwMode="auto">
                <a:xfrm>
                  <a:off x="2925358" y="3785841"/>
                  <a:ext cx="142374" cy="262925"/>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ysClr val="windowText" lastClr="000000">
                    <a:lumMod val="85000"/>
                    <a:lumOff val="15000"/>
                  </a:sysClr>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4" name="Freeform 307"/>
                <p:cNvSpPr>
                  <a:spLocks/>
                </p:cNvSpPr>
                <p:nvPr/>
              </p:nvSpPr>
              <p:spPr bwMode="auto">
                <a:xfrm>
                  <a:off x="3029224" y="3789513"/>
                  <a:ext cx="35682" cy="254111"/>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5" name="Freeform 308"/>
                <p:cNvSpPr>
                  <a:spLocks/>
                </p:cNvSpPr>
                <p:nvPr/>
              </p:nvSpPr>
              <p:spPr bwMode="auto">
                <a:xfrm>
                  <a:off x="2931717" y="4031507"/>
                  <a:ext cx="49460" cy="198295"/>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6" name="Freeform 309"/>
                <p:cNvSpPr>
                  <a:spLocks/>
                </p:cNvSpPr>
                <p:nvPr/>
              </p:nvSpPr>
              <p:spPr bwMode="auto">
                <a:xfrm>
                  <a:off x="2928891" y="4191245"/>
                  <a:ext cx="63945" cy="69770"/>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7" name="Freeform 310"/>
                <p:cNvSpPr>
                  <a:spLocks/>
                </p:cNvSpPr>
                <p:nvPr/>
              </p:nvSpPr>
              <p:spPr bwMode="auto">
                <a:xfrm>
                  <a:off x="2973405" y="3386681"/>
                  <a:ext cx="75603" cy="200865"/>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8" name="Freeform 311"/>
                <p:cNvSpPr>
                  <a:spLocks noEditPoints="1"/>
                </p:cNvSpPr>
                <p:nvPr/>
              </p:nvSpPr>
              <p:spPr bwMode="auto">
                <a:xfrm>
                  <a:off x="2979764" y="3395494"/>
                  <a:ext cx="64651" cy="9033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9" name="Freeform 312"/>
                <p:cNvSpPr>
                  <a:spLocks/>
                </p:cNvSpPr>
                <p:nvPr/>
              </p:nvSpPr>
              <p:spPr bwMode="auto">
                <a:xfrm>
                  <a:off x="3008027" y="3438458"/>
                  <a:ext cx="32856" cy="43698"/>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0" name="Freeform 313"/>
                <p:cNvSpPr>
                  <a:spLocks/>
                </p:cNvSpPr>
                <p:nvPr/>
              </p:nvSpPr>
              <p:spPr bwMode="auto">
                <a:xfrm>
                  <a:off x="2965986" y="3381907"/>
                  <a:ext cx="45927" cy="68302"/>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1" name="Freeform 314"/>
                <p:cNvSpPr>
                  <a:spLocks noEditPoints="1"/>
                </p:cNvSpPr>
                <p:nvPr/>
              </p:nvSpPr>
              <p:spPr bwMode="auto">
                <a:xfrm>
                  <a:off x="2978351" y="3366484"/>
                  <a:ext cx="81255" cy="88498"/>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ysClr val="windowText" lastClr="000000">
                    <a:lumMod val="85000"/>
                    <a:lumOff val="15000"/>
                  </a:sysClr>
                </a:solidFill>
                <a:ln w="9525">
                  <a:solidFill>
                    <a:sysClr val="windowText" lastClr="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2" name="Freeform 315"/>
                <p:cNvSpPr>
                  <a:spLocks/>
                </p:cNvSpPr>
                <p:nvPr/>
              </p:nvSpPr>
              <p:spPr bwMode="auto">
                <a:xfrm>
                  <a:off x="2985063" y="3368687"/>
                  <a:ext cx="72423" cy="7417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3" name="Freeform 316"/>
                <p:cNvSpPr>
                  <a:spLocks noEditPoints="1"/>
                </p:cNvSpPr>
                <p:nvPr/>
              </p:nvSpPr>
              <p:spPr bwMode="auto">
                <a:xfrm>
                  <a:off x="2994955" y="3477015"/>
                  <a:ext cx="39214" cy="89967"/>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4" name="Freeform 317"/>
                <p:cNvSpPr>
                  <a:spLocks/>
                </p:cNvSpPr>
                <p:nvPr/>
              </p:nvSpPr>
              <p:spPr bwMode="auto">
                <a:xfrm>
                  <a:off x="3008733" y="3490602"/>
                  <a:ext cx="16958" cy="62794"/>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5" name="Freeform 318"/>
                <p:cNvSpPr>
                  <a:spLocks/>
                </p:cNvSpPr>
                <p:nvPr/>
              </p:nvSpPr>
              <p:spPr bwMode="auto">
                <a:xfrm>
                  <a:off x="2964573" y="3482156"/>
                  <a:ext cx="105279" cy="129259"/>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6" name="Freeform 319"/>
                <p:cNvSpPr>
                  <a:spLocks/>
                </p:cNvSpPr>
                <p:nvPr/>
              </p:nvSpPr>
              <p:spPr bwMode="auto">
                <a:xfrm>
                  <a:off x="2998841" y="3485828"/>
                  <a:ext cx="34622" cy="101718"/>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7" name="Freeform 320"/>
                <p:cNvSpPr>
                  <a:spLocks noEditPoints="1"/>
                </p:cNvSpPr>
                <p:nvPr/>
              </p:nvSpPr>
              <p:spPr bwMode="auto">
                <a:xfrm>
                  <a:off x="2987890" y="3529160"/>
                  <a:ext cx="78429" cy="109062"/>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8" name="Freeform 321"/>
                <p:cNvSpPr>
                  <a:spLocks/>
                </p:cNvSpPr>
                <p:nvPr/>
              </p:nvSpPr>
              <p:spPr bwMode="auto">
                <a:xfrm>
                  <a:off x="3000255" y="3536504"/>
                  <a:ext cx="58645" cy="89967"/>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9" name="Freeform 322"/>
                <p:cNvSpPr>
                  <a:spLocks noEditPoints="1"/>
                </p:cNvSpPr>
                <p:nvPr/>
              </p:nvSpPr>
              <p:spPr bwMode="auto">
                <a:xfrm>
                  <a:off x="2985063" y="3516307"/>
                  <a:ext cx="133542" cy="323148"/>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0" name="Freeform 323"/>
                <p:cNvSpPr>
                  <a:spLocks/>
                </p:cNvSpPr>
                <p:nvPr/>
              </p:nvSpPr>
              <p:spPr bwMode="auto">
                <a:xfrm>
                  <a:off x="3056074" y="3560373"/>
                  <a:ext cx="34269" cy="213718"/>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1" name="Freeform 324"/>
                <p:cNvSpPr>
                  <a:spLocks/>
                </p:cNvSpPr>
                <p:nvPr/>
              </p:nvSpPr>
              <p:spPr bwMode="auto">
                <a:xfrm>
                  <a:off x="3094582" y="3534300"/>
                  <a:ext cx="21197" cy="30001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2" name="Freeform 325"/>
                <p:cNvSpPr>
                  <a:spLocks/>
                </p:cNvSpPr>
                <p:nvPr/>
              </p:nvSpPr>
              <p:spPr bwMode="auto">
                <a:xfrm>
                  <a:off x="2970932" y="3512635"/>
                  <a:ext cx="110578" cy="27320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3" name="Freeform 326"/>
                <p:cNvSpPr>
                  <a:spLocks/>
                </p:cNvSpPr>
                <p:nvPr/>
              </p:nvSpPr>
              <p:spPr bwMode="auto">
                <a:xfrm>
                  <a:off x="3067732" y="3561841"/>
                  <a:ext cx="50873" cy="277613"/>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4" name="Freeform 327"/>
                <p:cNvSpPr>
                  <a:spLocks/>
                </p:cNvSpPr>
                <p:nvPr/>
              </p:nvSpPr>
              <p:spPr bwMode="auto">
                <a:xfrm>
                  <a:off x="3067732" y="3835048"/>
                  <a:ext cx="22610" cy="66098"/>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5" name="Freeform 328"/>
                <p:cNvSpPr>
                  <a:spLocks/>
                </p:cNvSpPr>
                <p:nvPr/>
              </p:nvSpPr>
              <p:spPr bwMode="auto">
                <a:xfrm>
                  <a:off x="3069145" y="3835048"/>
                  <a:ext cx="44514" cy="66098"/>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6" name="Freeform 329"/>
                <p:cNvSpPr>
                  <a:spLocks/>
                </p:cNvSpPr>
                <p:nvPr/>
              </p:nvSpPr>
              <p:spPr bwMode="auto">
                <a:xfrm>
                  <a:off x="2972698" y="4039953"/>
                  <a:ext cx="57939" cy="224000"/>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7" name="Freeform 330"/>
                <p:cNvSpPr>
                  <a:spLocks noEditPoints="1"/>
                </p:cNvSpPr>
                <p:nvPr/>
              </p:nvSpPr>
              <p:spPr bwMode="auto">
                <a:xfrm>
                  <a:off x="2992836" y="4048031"/>
                  <a:ext cx="40628" cy="215921"/>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8" name="Freeform 331"/>
                <p:cNvSpPr>
                  <a:spLocks/>
                </p:cNvSpPr>
                <p:nvPr/>
              </p:nvSpPr>
              <p:spPr bwMode="auto">
                <a:xfrm>
                  <a:off x="3008733" y="4051704"/>
                  <a:ext cx="20491" cy="208577"/>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9" name="Freeform 332"/>
                <p:cNvSpPr>
                  <a:spLocks noEditPoints="1"/>
                </p:cNvSpPr>
                <p:nvPr/>
              </p:nvSpPr>
              <p:spPr bwMode="auto">
                <a:xfrm>
                  <a:off x="2952914" y="4039953"/>
                  <a:ext cx="39921" cy="184708"/>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0" name="Freeform 333"/>
                <p:cNvSpPr>
                  <a:spLocks/>
                </p:cNvSpPr>
                <p:nvPr/>
              </p:nvSpPr>
              <p:spPr bwMode="auto">
                <a:xfrm>
                  <a:off x="2963160" y="4045094"/>
                  <a:ext cx="26850" cy="152761"/>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1" name="Freeform 334"/>
                <p:cNvSpPr>
                  <a:spLocks/>
                </p:cNvSpPr>
                <p:nvPr/>
              </p:nvSpPr>
              <p:spPr bwMode="auto">
                <a:xfrm>
                  <a:off x="2994249" y="4252936"/>
                  <a:ext cx="45927" cy="45902"/>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grpSp>
        <p:sp>
          <p:nvSpPr>
            <p:cNvPr id="12" name="Freeform 11"/>
            <p:cNvSpPr>
              <a:spLocks noEditPoints="1"/>
            </p:cNvSpPr>
            <p:nvPr/>
          </p:nvSpPr>
          <p:spPr bwMode="auto">
            <a:xfrm rot="433632">
              <a:off x="2843213" y="792164"/>
              <a:ext cx="500062" cy="758825"/>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rgbClr val="000000"/>
            </a:solidFill>
            <a:ln>
              <a:noFill/>
            </a:ln>
            <a:effec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sp>
        <p:nvSpPr>
          <p:cNvPr id="62" name="Rectangle 9"/>
          <p:cNvSpPr>
            <a:spLocks/>
          </p:cNvSpPr>
          <p:nvPr/>
        </p:nvSpPr>
        <p:spPr bwMode="auto">
          <a:xfrm>
            <a:off x="2324678" y="3402622"/>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Did the Guest Service staff greet you when approached?</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Friendly?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helpful?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professional in dealing with different customers?	</a:t>
            </a:r>
          </a:p>
        </p:txBody>
      </p:sp>
      <p:sp>
        <p:nvSpPr>
          <p:cNvPr id="63" name="Rectangle 62"/>
          <p:cNvSpPr/>
          <p:nvPr/>
        </p:nvSpPr>
        <p:spPr>
          <a:xfrm>
            <a:off x="2330814" y="294303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Interaction with Guest</a:t>
            </a:r>
          </a:p>
        </p:txBody>
      </p:sp>
      <p:sp>
        <p:nvSpPr>
          <p:cNvPr id="64" name="Rectangle 9"/>
          <p:cNvSpPr>
            <a:spLocks/>
          </p:cNvSpPr>
          <p:nvPr/>
        </p:nvSpPr>
        <p:spPr bwMode="auto">
          <a:xfrm>
            <a:off x="5413953" y="2687970"/>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Is the Guest Service staff aware of the ongoing events &amp; able to provide the timing of different entertainment activities?	</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oes Guest Service staff have all information related to shuttle services, Taxi locations &amp; Valet Parking, locker, porter Services?</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id Guest Service staff provide you with the correct direction to different areas of the Mall?	Is the Guest Service Staff able to understand &amp; able to respond to your query correctly?	</a:t>
            </a:r>
          </a:p>
        </p:txBody>
      </p:sp>
      <p:sp>
        <p:nvSpPr>
          <p:cNvPr id="65" name="Rectangle 64"/>
          <p:cNvSpPr/>
          <p:nvPr/>
        </p:nvSpPr>
        <p:spPr>
          <a:xfrm>
            <a:off x="5413953" y="2214365"/>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 Product Knowledge</a:t>
            </a:r>
          </a:p>
        </p:txBody>
      </p:sp>
      <p:sp>
        <p:nvSpPr>
          <p:cNvPr id="66" name="Rectangle 9"/>
          <p:cNvSpPr>
            <a:spLocks/>
          </p:cNvSpPr>
          <p:nvPr/>
        </p:nvSpPr>
        <p:spPr bwMode="auto">
          <a:xfrm>
            <a:off x="8474070" y="2191138"/>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defTabSz="457200" eaLnBrk="0" hangingPunct="0">
              <a:defRPr sz="2200" b="1">
                <a:solidFill>
                  <a:schemeClr val="tx1"/>
                </a:solidFill>
                <a:latin typeface="Myriad Landor" charset="0"/>
                <a:ea typeface="MS PGothic" panose="020B0600070205080204" pitchFamily="34" charset="-128"/>
              </a:defRPr>
            </a:lvl1pPr>
            <a:lvl2pPr marL="742950" indent="-285750" defTabSz="457200" eaLnBrk="0" hangingPunct="0">
              <a:defRPr sz="2200" b="1">
                <a:solidFill>
                  <a:schemeClr val="tx1"/>
                </a:solidFill>
                <a:latin typeface="Myriad Landor" charset="0"/>
                <a:ea typeface="MS PGothic" panose="020B0600070205080204" pitchFamily="34" charset="-128"/>
              </a:defRPr>
            </a:lvl2pPr>
            <a:lvl3pPr marL="1143000" indent="-228600" defTabSz="457200" eaLnBrk="0" hangingPunct="0">
              <a:defRPr sz="2200" b="1">
                <a:solidFill>
                  <a:schemeClr val="tx1"/>
                </a:solidFill>
                <a:latin typeface="Myriad Landor" charset="0"/>
                <a:ea typeface="MS PGothic" panose="020B0600070205080204" pitchFamily="34" charset="-128"/>
              </a:defRPr>
            </a:lvl3pPr>
            <a:lvl4pPr marL="1600200" indent="-228600" defTabSz="457200" eaLnBrk="0" hangingPunct="0">
              <a:defRPr sz="2200" b="1">
                <a:solidFill>
                  <a:schemeClr val="tx1"/>
                </a:solidFill>
                <a:latin typeface="Myriad Landor" charset="0"/>
                <a:ea typeface="MS PGothic" panose="020B0600070205080204" pitchFamily="34" charset="-128"/>
              </a:defRPr>
            </a:lvl4pPr>
            <a:lvl5pPr marL="2057400" indent="-228600" defTabSz="457200" eaLnBrk="0" hangingPunct="0">
              <a:defRPr sz="2200" b="1">
                <a:solidFill>
                  <a:schemeClr val="tx1"/>
                </a:solidFill>
                <a:latin typeface="Myriad Landor" charset="0"/>
                <a:ea typeface="MS PGothic" panose="020B0600070205080204" pitchFamily="34" charset="-128"/>
              </a:defRPr>
            </a:lvl5pPr>
            <a:lvl6pPr marL="25146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well groomed (uniform)?	</a:t>
            </a: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using professional &amp; appropriate body language?	</a:t>
            </a:r>
          </a:p>
          <a:p>
            <a:pPr marL="0" indent="0" eaLnBrk="1" fontAlgn="ctr" hangingPunct="1">
              <a:spcBef>
                <a:spcPct val="0"/>
              </a:spcBef>
              <a:spcAft>
                <a:spcPct val="0"/>
              </a:spcAft>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p:txBody>
      </p:sp>
      <p:sp>
        <p:nvSpPr>
          <p:cNvPr id="67" name="Rectangle 66"/>
          <p:cNvSpPr/>
          <p:nvPr/>
        </p:nvSpPr>
        <p:spPr>
          <a:xfrm>
            <a:off x="8474070" y="173004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Professional Image</a:t>
            </a:r>
          </a:p>
        </p:txBody>
      </p:sp>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80381" y="123247"/>
            <a:ext cx="2359535" cy="657041"/>
          </a:xfrm>
          <a:prstGeom prst="rect">
            <a:avLst/>
          </a:prstGeom>
        </p:spPr>
      </p:pic>
    </p:spTree>
    <p:extLst>
      <p:ext uri="{BB962C8B-B14F-4D97-AF65-F5344CB8AC3E}">
        <p14:creationId xmlns:p14="http://schemas.microsoft.com/office/powerpoint/2010/main" val="2904905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216680" y="982033"/>
            <a:ext cx="7291168" cy="55518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16" name="Donut 13"/>
          <p:cNvSpPr/>
          <p:nvPr/>
        </p:nvSpPr>
        <p:spPr>
          <a:xfrm rot="2245595">
            <a:off x="4024379" y="2026851"/>
            <a:ext cx="3660641" cy="3555437"/>
          </a:xfrm>
          <a:custGeom>
            <a:avLst/>
            <a:gdLst/>
            <a:ahLst/>
            <a:cxnLst/>
            <a:rect l="l" t="t" r="r" b="b"/>
            <a:pathLst>
              <a:path w="6590580" h="6743627">
                <a:moveTo>
                  <a:pt x="2956267" y="0"/>
                </a:moveTo>
                <a:lnTo>
                  <a:pt x="3336903" y="278318"/>
                </a:lnTo>
                <a:lnTo>
                  <a:pt x="3058584" y="658954"/>
                </a:lnTo>
                <a:lnTo>
                  <a:pt x="3033005" y="494216"/>
                </a:lnTo>
                <a:lnTo>
                  <a:pt x="2915730" y="513745"/>
                </a:lnTo>
                <a:lnTo>
                  <a:pt x="2915730" y="516063"/>
                </a:lnTo>
                <a:cubicBezTo>
                  <a:pt x="1460424" y="699663"/>
                  <a:pt x="335988" y="1942688"/>
                  <a:pt x="335988" y="3448337"/>
                </a:cubicBezTo>
                <a:cubicBezTo>
                  <a:pt x="335988" y="5082714"/>
                  <a:pt x="1660913" y="6407639"/>
                  <a:pt x="3295290" y="6407639"/>
                </a:cubicBezTo>
                <a:cubicBezTo>
                  <a:pt x="4929667" y="6407639"/>
                  <a:pt x="6254592" y="5082714"/>
                  <a:pt x="6254592" y="3448337"/>
                </a:cubicBezTo>
                <a:cubicBezTo>
                  <a:pt x="6254592" y="1942689"/>
                  <a:pt x="5130159" y="699666"/>
                  <a:pt x="3674854" y="516064"/>
                </a:cubicBezTo>
                <a:lnTo>
                  <a:pt x="3674854" y="175479"/>
                </a:lnTo>
                <a:cubicBezTo>
                  <a:pt x="5316061" y="362939"/>
                  <a:pt x="6590580" y="1756798"/>
                  <a:pt x="6590580" y="3448337"/>
                </a:cubicBezTo>
                <a:cubicBezTo>
                  <a:pt x="6590580" y="5268275"/>
                  <a:pt x="5115228" y="6743627"/>
                  <a:pt x="3295290" y="6743627"/>
                </a:cubicBezTo>
                <a:cubicBezTo>
                  <a:pt x="1475352" y="6743627"/>
                  <a:pt x="0" y="5268275"/>
                  <a:pt x="0" y="3448337"/>
                </a:cubicBezTo>
                <a:cubicBezTo>
                  <a:pt x="0" y="1880998"/>
                  <a:pt x="1094229" y="569230"/>
                  <a:pt x="2560954" y="237907"/>
                </a:cubicBezTo>
                <a:cubicBezTo>
                  <a:pt x="2560940" y="237808"/>
                  <a:pt x="2560925" y="237710"/>
                  <a:pt x="2560910" y="237612"/>
                </a:cubicBezTo>
                <a:lnTo>
                  <a:pt x="2566805" y="236390"/>
                </a:lnTo>
                <a:cubicBezTo>
                  <a:pt x="2598900" y="227263"/>
                  <a:pt x="2631584" y="220419"/>
                  <a:pt x="2664831" y="216078"/>
                </a:cubicBezTo>
                <a:cubicBezTo>
                  <a:pt x="2766971" y="193237"/>
                  <a:pt x="2873085" y="176340"/>
                  <a:pt x="2981847" y="164739"/>
                </a:cubicBezTo>
                <a:close/>
              </a:path>
            </a:pathLst>
          </a:custGeom>
          <a:solidFill>
            <a:schemeClr val="bg2">
              <a:lumMod val="50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 name="TextBox 21"/>
          <p:cNvSpPr txBox="1"/>
          <p:nvPr/>
        </p:nvSpPr>
        <p:spPr>
          <a:xfrm>
            <a:off x="5039688" y="936429"/>
            <a:ext cx="1645151" cy="338554"/>
          </a:xfrm>
          <a:prstGeom prst="rect">
            <a:avLst/>
          </a:prstGeom>
          <a:noFill/>
        </p:spPr>
        <p:txBody>
          <a:bodyPr wrap="square" rtlCol="0">
            <a:spAutoFit/>
          </a:bodyPr>
          <a:lstStyle/>
          <a:p>
            <a:r>
              <a:rPr lang="en-US" sz="1600" b="1" dirty="0">
                <a:latin typeface="Tw Cen MT Condensed" panose="020B0606020104020203" pitchFamily="34" charset="0"/>
              </a:rPr>
              <a:t>Product Knowledge</a:t>
            </a:r>
          </a:p>
        </p:txBody>
      </p:sp>
      <p:sp>
        <p:nvSpPr>
          <p:cNvPr id="31" name="TextBox 30"/>
          <p:cNvSpPr txBox="1"/>
          <p:nvPr/>
        </p:nvSpPr>
        <p:spPr>
          <a:xfrm>
            <a:off x="2375434" y="3258748"/>
            <a:ext cx="1437954" cy="584775"/>
          </a:xfrm>
          <a:prstGeom prst="rect">
            <a:avLst/>
          </a:prstGeom>
          <a:noFill/>
        </p:spPr>
        <p:txBody>
          <a:bodyPr wrap="square" rtlCol="0">
            <a:spAutoFit/>
          </a:bodyPr>
          <a:lstStyle/>
          <a:p>
            <a:pPr algn="ctr"/>
            <a:r>
              <a:rPr lang="en-US" sz="1600" b="1" dirty="0">
                <a:latin typeface="Tw Cen MT Condensed" panose="020B0606020104020203" pitchFamily="34" charset="0"/>
              </a:rPr>
              <a:t>Interaction with Guest</a:t>
            </a: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485446"/>
            <a:ext cx="2743200" cy="365125"/>
          </a:xfrm>
        </p:spPr>
        <p:txBody>
          <a:bodyPr/>
          <a:lstStyle/>
          <a:p>
            <a:fld id="{AC155779-0C73-4050-9674-9D270809896D}" type="slidenum">
              <a:rPr lang="en-US" smtClean="0"/>
              <a:t>2</a:t>
            </a:fld>
            <a:endParaRPr lang="en-US"/>
          </a:p>
        </p:txBody>
      </p:sp>
      <p:sp>
        <p:nvSpPr>
          <p:cNvPr id="48" name="TextBox 47"/>
          <p:cNvSpPr txBox="1"/>
          <p:nvPr/>
        </p:nvSpPr>
        <p:spPr>
          <a:xfrm>
            <a:off x="8036052" y="3309315"/>
            <a:ext cx="1149096" cy="584775"/>
          </a:xfrm>
          <a:prstGeom prst="rect">
            <a:avLst/>
          </a:prstGeom>
          <a:noFill/>
        </p:spPr>
        <p:txBody>
          <a:bodyPr wrap="square" rtlCol="0">
            <a:spAutoFit/>
          </a:bodyPr>
          <a:lstStyle/>
          <a:p>
            <a:pPr algn="ctr"/>
            <a:r>
              <a:rPr lang="en-US" sz="1600" b="1" dirty="0">
                <a:latin typeface="Tw Cen MT Condensed" panose="020B0606020104020203" pitchFamily="34" charset="0"/>
              </a:rPr>
              <a:t>Professional Image</a:t>
            </a:r>
          </a:p>
        </p:txBody>
      </p:sp>
      <p:cxnSp>
        <p:nvCxnSpPr>
          <p:cNvPr id="53" name="Straight Connector 52"/>
          <p:cNvCxnSpPr/>
          <p:nvPr/>
        </p:nvCxnSpPr>
        <p:spPr>
          <a:xfrm>
            <a:off x="71634" y="60768"/>
            <a:ext cx="0" cy="703648"/>
          </a:xfrm>
          <a:prstGeom prst="line">
            <a:avLst/>
          </a:prstGeom>
          <a:noFill/>
          <a:ln w="9525" cap="flat" cmpd="sng" algn="ctr">
            <a:solidFill>
              <a:srgbClr val="0070C0"/>
            </a:solidFill>
            <a:prstDash val="solid"/>
          </a:ln>
          <a:effectLst/>
        </p:spPr>
      </p:cxnSp>
      <p:sp>
        <p:nvSpPr>
          <p:cNvPr id="58" name="Rectangle 57"/>
          <p:cNvSpPr/>
          <p:nvPr/>
        </p:nvSpPr>
        <p:spPr>
          <a:xfrm>
            <a:off x="71634" y="66754"/>
            <a:ext cx="6404054"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Results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TextBox 65"/>
          <p:cNvSpPr txBox="1"/>
          <p:nvPr/>
        </p:nvSpPr>
        <p:spPr>
          <a:xfrm>
            <a:off x="8213678" y="3805234"/>
            <a:ext cx="881214" cy="923330"/>
          </a:xfrm>
          <a:prstGeom prst="rect">
            <a:avLst/>
          </a:prstGeom>
          <a:noFill/>
        </p:spPr>
        <p:txBody>
          <a:bodyPr wrap="square" rtlCol="0">
            <a:spAutoFit/>
          </a:bodyPr>
          <a:lstStyle/>
          <a:p>
            <a:pPr algn="ctr"/>
            <a:r>
              <a:rPr lang="en-US" b="1" dirty="0" smtClean="0">
                <a:solidFill>
                  <a:srgbClr val="0070C0"/>
                </a:solidFill>
                <a:latin typeface="Tw Cen MT" panose="020B0602020104020603" pitchFamily="34" charset="0"/>
              </a:rPr>
              <a:t>[</a:t>
            </a:r>
            <a:r>
              <a:rPr lang="en-US" b="1" dirty="0" err="1" smtClean="0">
                <a:solidFill>
                  <a:srgbClr val="0070C0"/>
                </a:solidFill>
                <a:latin typeface="Tw Cen MT" panose="020B0602020104020603" pitchFamily="34" charset="0"/>
              </a:rPr>
              <a:t>ProfessionalImage</a:t>
            </a:r>
            <a:r>
              <a:rPr lang="en-US" b="1" dirty="0" smtClean="0">
                <a:solidFill>
                  <a:srgbClr val="0070C0"/>
                </a:solidFill>
                <a:latin typeface="Tw Cen MT" panose="020B0602020104020603" pitchFamily="34" charset="0"/>
              </a:rPr>
              <a:t>]</a:t>
            </a:r>
            <a:endParaRPr lang="en-US" b="1" dirty="0">
              <a:solidFill>
                <a:srgbClr val="0070C0"/>
              </a:solidFill>
              <a:latin typeface="Tw Cen MT" panose="020B0602020104020603" pitchFamily="34" charset="0"/>
            </a:endParaRPr>
          </a:p>
        </p:txBody>
      </p:sp>
      <p:sp>
        <p:nvSpPr>
          <p:cNvPr id="67" name="TextBox 66"/>
          <p:cNvSpPr txBox="1"/>
          <p:nvPr/>
        </p:nvSpPr>
        <p:spPr>
          <a:xfrm>
            <a:off x="2688953" y="3761886"/>
            <a:ext cx="849631" cy="1200329"/>
          </a:xfrm>
          <a:prstGeom prst="rect">
            <a:avLst/>
          </a:prstGeom>
          <a:noFill/>
        </p:spPr>
        <p:txBody>
          <a:bodyPr wrap="square" rtlCol="0">
            <a:spAutoFit/>
          </a:bodyPr>
          <a:lstStyle/>
          <a:p>
            <a:pPr algn="ctr"/>
            <a:r>
              <a:rPr lang="en-US" b="1" dirty="0" smtClean="0">
                <a:solidFill>
                  <a:srgbClr val="0070C0"/>
                </a:solidFill>
                <a:latin typeface="Tw Cen MT" panose="020B0602020104020603" pitchFamily="34" charset="0"/>
              </a:rPr>
              <a:t>[</a:t>
            </a:r>
            <a:r>
              <a:rPr lang="en-US" b="1" dirty="0" err="1" smtClean="0">
                <a:solidFill>
                  <a:srgbClr val="0070C0"/>
                </a:solidFill>
                <a:latin typeface="Tw Cen MT" panose="020B0602020104020603" pitchFamily="34" charset="0"/>
              </a:rPr>
              <a:t>InterActionWithGuests</a:t>
            </a:r>
            <a:r>
              <a:rPr lang="en-US" b="1" dirty="0" smtClean="0">
                <a:solidFill>
                  <a:srgbClr val="0070C0"/>
                </a:solidFill>
                <a:latin typeface="Tw Cen MT" panose="020B0602020104020603" pitchFamily="34" charset="0"/>
              </a:rPr>
              <a:t>]</a:t>
            </a:r>
            <a:endParaRPr lang="en-US" b="1" dirty="0">
              <a:solidFill>
                <a:srgbClr val="0070C0"/>
              </a:solidFill>
              <a:latin typeface="Tw Cen MT" panose="020B0602020104020603" pitchFamily="34" charset="0"/>
            </a:endParaRPr>
          </a:p>
        </p:txBody>
      </p:sp>
      <p:sp>
        <p:nvSpPr>
          <p:cNvPr id="68" name="TextBox 67"/>
          <p:cNvSpPr txBox="1"/>
          <p:nvPr/>
        </p:nvSpPr>
        <p:spPr>
          <a:xfrm>
            <a:off x="5385329" y="1204076"/>
            <a:ext cx="938740" cy="923330"/>
          </a:xfrm>
          <a:prstGeom prst="rect">
            <a:avLst/>
          </a:prstGeom>
          <a:noFill/>
        </p:spPr>
        <p:txBody>
          <a:bodyPr wrap="square" rtlCol="0">
            <a:spAutoFit/>
          </a:bodyPr>
          <a:lstStyle/>
          <a:p>
            <a:pPr algn="ctr"/>
            <a:r>
              <a:rPr lang="en-US" b="1" dirty="0" err="1" smtClean="0">
                <a:solidFill>
                  <a:srgbClr val="0070C0"/>
                </a:solidFill>
                <a:latin typeface="Tw Cen MT" panose="020B0602020104020603" pitchFamily="34" charset="0"/>
              </a:rPr>
              <a:t>ProductKnowledge</a:t>
            </a:r>
            <a:endParaRPr lang="en-US" b="1" dirty="0">
              <a:solidFill>
                <a:srgbClr val="0070C0"/>
              </a:solidFill>
              <a:latin typeface="Tw Cen MT" panose="020B0602020104020603"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2030" y="3309315"/>
            <a:ext cx="1123152" cy="11231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5306" y="3326833"/>
            <a:ext cx="1088116" cy="1088116"/>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icture 2" descr="Image result for icon for product knowled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47873" y="1622813"/>
            <a:ext cx="1077977" cy="1077977"/>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8803" y="3467218"/>
            <a:ext cx="2088017" cy="581434"/>
          </a:xfrm>
          <a:prstGeom prst="rect">
            <a:avLst/>
          </a:prstGeom>
        </p:spPr>
      </p:pic>
    </p:spTree>
    <p:extLst>
      <p:ext uri="{BB962C8B-B14F-4D97-AF65-F5344CB8AC3E}">
        <p14:creationId xmlns:p14="http://schemas.microsoft.com/office/powerpoint/2010/main" val="4118602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3</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110163"/>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639685" y="3716395"/>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 April ’17</a:t>
            </a:r>
          </a:p>
        </p:txBody>
      </p:sp>
      <p:grpSp>
        <p:nvGrpSpPr>
          <p:cNvPr id="16" name="Group 15"/>
          <p:cNvGrpSpPr/>
          <p:nvPr/>
        </p:nvGrpSpPr>
        <p:grpSpPr>
          <a:xfrm>
            <a:off x="10181815" y="1535560"/>
            <a:ext cx="1494971" cy="1049159"/>
            <a:chOff x="406401" y="5534190"/>
            <a:chExt cx="1494971" cy="1049159"/>
          </a:xfrm>
        </p:grpSpPr>
        <p:sp>
          <p:nvSpPr>
            <p:cNvPr id="17" name="Rectangle 16"/>
            <p:cNvSpPr/>
            <p:nvPr/>
          </p:nvSpPr>
          <p:spPr>
            <a:xfrm>
              <a:off x="677917" y="5548704"/>
              <a:ext cx="1223455" cy="276999"/>
            </a:xfrm>
            <a:prstGeom prst="rect">
              <a:avLst/>
            </a:prstGeom>
          </p:spPr>
          <p:txBody>
            <a:bodyPr wrap="square">
              <a:spAutoFit/>
            </a:bodyPr>
            <a:lstStyle/>
            <a:p>
              <a:r>
                <a:rPr lang="en-US" sz="1200" b="1" dirty="0">
                  <a:solidFill>
                    <a:srgbClr val="00B050"/>
                  </a:solidFill>
                </a:rPr>
                <a:t>90% &amp; above</a:t>
              </a:r>
            </a:p>
          </p:txBody>
        </p:sp>
        <p:pic>
          <p:nvPicPr>
            <p:cNvPr id="19" name="Picture 18"/>
            <p:cNvPicPr>
              <a:picLocks noChangeAspect="1"/>
            </p:cNvPicPr>
            <p:nvPr/>
          </p:nvPicPr>
          <p:blipFill rotWithShape="1">
            <a:blip r:embed="rId3"/>
            <a:srcRect l="25694"/>
            <a:stretch/>
          </p:blipFill>
          <p:spPr>
            <a:xfrm>
              <a:off x="406401" y="5534190"/>
              <a:ext cx="315058" cy="1049159"/>
            </a:xfrm>
            <a:prstGeom prst="rect">
              <a:avLst/>
            </a:prstGeom>
          </p:spPr>
        </p:pic>
        <p:sp>
          <p:nvSpPr>
            <p:cNvPr id="20" name="Rectangle 19"/>
            <p:cNvSpPr/>
            <p:nvPr/>
          </p:nvSpPr>
          <p:spPr>
            <a:xfrm>
              <a:off x="677917" y="5912137"/>
              <a:ext cx="1179913" cy="276999"/>
            </a:xfrm>
            <a:prstGeom prst="rect">
              <a:avLst/>
            </a:prstGeom>
          </p:spPr>
          <p:txBody>
            <a:bodyPr wrap="square">
              <a:spAutoFit/>
            </a:bodyPr>
            <a:lstStyle/>
            <a:p>
              <a:r>
                <a:rPr lang="en-US" sz="1200" b="1" dirty="0">
                  <a:solidFill>
                    <a:srgbClr val="FF0000"/>
                  </a:solidFill>
                </a:rPr>
                <a:t>80% &amp; below</a:t>
              </a:r>
            </a:p>
          </p:txBody>
        </p:sp>
        <p:sp>
          <p:nvSpPr>
            <p:cNvPr id="22" name="Rectangle 21"/>
            <p:cNvSpPr/>
            <p:nvPr/>
          </p:nvSpPr>
          <p:spPr>
            <a:xfrm>
              <a:off x="706945" y="5716231"/>
              <a:ext cx="919804" cy="276999"/>
            </a:xfrm>
            <a:prstGeom prst="rect">
              <a:avLst/>
            </a:prstGeom>
          </p:spPr>
          <p:txBody>
            <a:bodyPr wrap="none">
              <a:spAutoFit/>
            </a:bodyPr>
            <a:lstStyle/>
            <a:p>
              <a:r>
                <a:rPr lang="en-US" sz="1200" b="1" dirty="0">
                  <a:solidFill>
                    <a:schemeClr val="accent2">
                      <a:lumMod val="60000"/>
                      <a:lumOff val="40000"/>
                    </a:schemeClr>
                  </a:solidFill>
                </a:rPr>
                <a:t>In-between</a:t>
              </a:r>
            </a:p>
          </p:txBody>
        </p:sp>
      </p:gr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7155812" y="376308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per month</a:t>
            </a:r>
          </a:p>
        </p:txBody>
      </p:sp>
      <p:graphicFrame>
        <p:nvGraphicFramePr>
          <p:cNvPr id="25" name="Diagram 24"/>
          <p:cNvGraphicFramePr/>
          <p:nvPr>
            <p:extLst>
              <p:ext uri="{D42A27DB-BD31-4B8C-83A1-F6EECF244321}">
                <p14:modId xmlns:p14="http://schemas.microsoft.com/office/powerpoint/2010/main" val="3087348644"/>
              </p:ext>
            </p:extLst>
          </p:nvPr>
        </p:nvGraphicFramePr>
        <p:xfrm>
          <a:off x="1165399" y="1131482"/>
          <a:ext cx="8501203" cy="12780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27" name="Group 26"/>
          <p:cNvGrpSpPr/>
          <p:nvPr/>
        </p:nvGrpSpPr>
        <p:grpSpPr>
          <a:xfrm>
            <a:off x="3616608" y="1090986"/>
            <a:ext cx="1618651" cy="1719500"/>
            <a:chOff x="526399" y="-441491"/>
            <a:chExt cx="1618651" cy="1719500"/>
          </a:xfrm>
        </p:grpSpPr>
        <p:sp>
          <p:nvSpPr>
            <p:cNvPr id="29" name="Rectangle 28"/>
            <p:cNvSpPr/>
            <p:nvPr/>
          </p:nvSpPr>
          <p:spPr>
            <a:xfrm>
              <a:off x="526399" y="0"/>
              <a:ext cx="1546499"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1" name="Rectangle 30"/>
            <p:cNvSpPr/>
            <p:nvPr/>
          </p:nvSpPr>
          <p:spPr>
            <a:xfrm>
              <a:off x="598551" y="-441491"/>
              <a:ext cx="1546499"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dirty="0" smtClean="0">
                  <a:latin typeface="Tw Cen MT Condensed" panose="020B0606020104020203" pitchFamily="34" charset="0"/>
                </a:rPr>
                <a:t>[</a:t>
              </a:r>
              <a:r>
                <a:rPr lang="en-US" sz="4400" dirty="0" err="1" smtClean="0">
                  <a:latin typeface="Tw Cen MT Condensed" panose="020B0606020104020203" pitchFamily="34" charset="0"/>
                </a:rPr>
                <a:t>VisitsYTD</a:t>
              </a:r>
              <a:r>
                <a:rPr lang="en-US" sz="4400" dirty="0" smtClean="0">
                  <a:latin typeface="Tw Cen MT Condensed" panose="020B0606020104020203" pitchFamily="34" charset="0"/>
                </a:rPr>
                <a:t>]</a:t>
              </a:r>
              <a:endParaRPr lang="en-US" sz="4400" kern="1200" dirty="0">
                <a:latin typeface="Tw Cen MT Condensed" panose="020B0606020104020203" pitchFamily="34" charset="0"/>
              </a:endParaRPr>
            </a:p>
          </p:txBody>
        </p:sp>
      </p:grpSp>
      <p:grpSp>
        <p:nvGrpSpPr>
          <p:cNvPr id="32" name="Group 31"/>
          <p:cNvGrpSpPr/>
          <p:nvPr/>
        </p:nvGrpSpPr>
        <p:grpSpPr>
          <a:xfrm>
            <a:off x="8008988" y="986627"/>
            <a:ext cx="1832510" cy="3507629"/>
            <a:chOff x="4531372" y="-2229620"/>
            <a:chExt cx="1832510" cy="350762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31372" y="-222962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smtClean="0">
                  <a:solidFill>
                    <a:schemeClr val="bg1"/>
                  </a:solidFill>
                  <a:latin typeface="Tw Cen MT Condensed" panose="020B0606020104020203" pitchFamily="34" charset="0"/>
                  <a:ea typeface="MS PGothic" pitchFamily="34" charset="-128"/>
                </a:rPr>
                <a:t>[</a:t>
              </a:r>
              <a:r>
                <a:rPr lang="en-US" sz="4000" kern="1200" cap="all" spc="83" dirty="0" err="1" smtClean="0">
                  <a:solidFill>
                    <a:schemeClr val="bg1"/>
                  </a:solidFill>
                  <a:latin typeface="Tw Cen MT Condensed" panose="020B0606020104020203" pitchFamily="34" charset="0"/>
                  <a:ea typeface="MS PGothic" pitchFamily="34" charset="-128"/>
                </a:rPr>
                <a:t>ScoreYTD</a:t>
              </a:r>
              <a:r>
                <a:rPr lang="en-US" sz="4000" kern="1200" cap="all" spc="83" dirty="0" smtClean="0">
                  <a:solidFill>
                    <a:schemeClr val="bg1"/>
                  </a:solidFill>
                  <a:latin typeface="Tw Cen MT Condensed" panose="020B0606020104020203" pitchFamily="34" charset="0"/>
                  <a:ea typeface="MS PGothic" pitchFamily="34" charset="-128"/>
                </a:rPr>
                <a:t>]</a:t>
              </a:r>
              <a:endParaRPr lang="en-US" sz="4000" dirty="0">
                <a:latin typeface="Tw Cen MT Condensed" panose="020B0606020104020203" pitchFamily="34" charset="0"/>
              </a:endParaRPr>
            </a:p>
          </p:txBody>
        </p:sp>
      </p:grpSp>
      <p:graphicFrame>
        <p:nvGraphicFramePr>
          <p:cNvPr id="43" name="Table 42"/>
          <p:cNvGraphicFramePr>
            <a:graphicFrameLocks noGrp="1"/>
          </p:cNvGraphicFramePr>
          <p:nvPr>
            <p:extLst>
              <p:ext uri="{D42A27DB-BD31-4B8C-83A1-F6EECF244321}">
                <p14:modId xmlns:p14="http://schemas.microsoft.com/office/powerpoint/2010/main" val="519153833"/>
              </p:ext>
            </p:extLst>
          </p:nvPr>
        </p:nvGraphicFramePr>
        <p:xfrm>
          <a:off x="2721744" y="2613570"/>
          <a:ext cx="5683439" cy="695222"/>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765802">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0"/>
                    </a:ext>
                  </a:extLst>
                </a:gridCol>
                <a:gridCol w="718551">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1"/>
                    </a:ext>
                  </a:extLst>
                </a:gridCol>
                <a:gridCol w="802638">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2"/>
                    </a:ext>
                  </a:extLst>
                </a:gridCol>
                <a:gridCol w="859969">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3"/>
                    </a:ext>
                  </a:extLst>
                </a:gridCol>
                <a:gridCol w="859969">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1623038515"/>
                    </a:ext>
                  </a:extLst>
                </a:gridCol>
                <a:gridCol w="676510">
                  <a:extLst>
                    <a:ext uri="{9D8B030D-6E8A-4147-A177-3AD203B41FA5}">
                      <a16:col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20004"/>
                    </a:ext>
                  </a:extLst>
                </a:gridCol>
              </a:tblGrid>
              <a:tr h="319937">
                <a:tc>
                  <a:txBody>
                    <a:bodyPr/>
                    <a:lstStyle/>
                    <a:p>
                      <a:pPr algn="ctr" fontAlgn="ctr"/>
                      <a:r>
                        <a:rPr lang="en-US" sz="1200" b="1" u="none" strike="noStrike" dirty="0">
                          <a:solidFill>
                            <a:schemeClr val="bg1"/>
                          </a:solidFill>
                          <a:effectLst/>
                        </a:rPr>
                        <a:t>Guest</a:t>
                      </a:r>
                      <a:r>
                        <a:rPr lang="en-US" sz="1200" b="1" u="none" strike="noStrike" baseline="0" dirty="0">
                          <a:solidFill>
                            <a:schemeClr val="bg1"/>
                          </a:solidFill>
                          <a:effectLst/>
                        </a:rPr>
                        <a:t> </a:t>
                      </a:r>
                      <a:r>
                        <a:rPr lang="en-US" sz="1200" b="1" u="none" strike="noStrike" dirty="0">
                          <a:solidFill>
                            <a:schemeClr val="bg1"/>
                          </a:solidFill>
                          <a:effectLst/>
                        </a:rPr>
                        <a:t> Services</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JAN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a:solidFill>
                            <a:schemeClr val="bg1"/>
                          </a:solidFill>
                          <a:effectLst/>
                        </a:rPr>
                        <a:t>FEB 2017</a:t>
                      </a:r>
                      <a:endParaRPr lang="en-US" sz="1200" b="1" i="0" u="none" strike="noStrike">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MAR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i="0" u="none" strike="noStrike" dirty="0">
                          <a:solidFill>
                            <a:schemeClr val="bg1"/>
                          </a:solidFill>
                          <a:effectLst/>
                          <a:latin typeface="+mn-lt"/>
                        </a:rPr>
                        <a:t>APRIL</a:t>
                      </a:r>
                      <a:r>
                        <a:rPr lang="en-US" sz="1200" b="1" i="0" u="none" strike="noStrike" baseline="0" dirty="0">
                          <a:solidFill>
                            <a:schemeClr val="bg1"/>
                          </a:solidFill>
                          <a:effectLst/>
                          <a:latin typeface="+mn-lt"/>
                        </a:rPr>
                        <a:t> 2017</a:t>
                      </a:r>
                      <a:endParaRPr lang="en-US" sz="120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YTD</a:t>
                      </a:r>
                      <a:r>
                        <a:rPr lang="en-US" sz="1200" b="1" u="none" strike="noStrike" baseline="0" dirty="0">
                          <a:solidFill>
                            <a:schemeClr val="bg1"/>
                          </a:solidFill>
                          <a:effectLst/>
                        </a:rPr>
                        <a:t>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extLst>
                  <a:ext uri="{0D108BD9-81ED-4DB2-BD59-A6C34878D82A}">
                    <a16:row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10000"/>
                  </a:ext>
                </a:extLst>
              </a:tr>
              <a:tr h="319937">
                <a:tc>
                  <a:txBody>
                    <a:bodyPr/>
                    <a:lstStyle/>
                    <a:p>
                      <a:pPr algn="ctr" fontAlgn="ctr"/>
                      <a:r>
                        <a:rPr lang="en-US" sz="1200" b="1" u="none" strike="noStrike" dirty="0">
                          <a:solidFill>
                            <a:schemeClr val="bg1"/>
                          </a:solidFill>
                          <a:effectLst/>
                        </a:rPr>
                        <a:t>Overall Monthly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8%</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6%</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u="none" strike="noStrike" dirty="0">
                          <a:solidFill>
                            <a:schemeClr val="bg1"/>
                          </a:solidFill>
                          <a:effectLst/>
                        </a:rPr>
                        <a:t>96%</a:t>
                      </a:r>
                      <a:endParaRPr lang="en-US" sz="120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extLst>
                  <a:ext uri="{0D108BD9-81ED-4DB2-BD59-A6C34878D82A}">
                    <a16:rowId xmlns:a16="http://schemas.microsoft.com/office/drawing/2014/main" xmlns:c="http://schemas.openxmlformats.org/drawingml/2006/chart" xmlns:dgm="http://schemas.openxmlformats.org/drawingml/2006/diagram" xmlns:p14="http://schemas.microsoft.com/office/powerpoint/2010/main" xmlns:a14="http://schemas.microsoft.com/office/drawing/2010/main" xmlns="" val="10001"/>
                  </a:ext>
                </a:extLst>
              </a:tr>
            </a:tbl>
          </a:graphicData>
        </a:graphic>
      </p:graphicFrame>
      <p:graphicFrame>
        <p:nvGraphicFramePr>
          <p:cNvPr id="40" name="Chart 39"/>
          <p:cNvGraphicFramePr/>
          <p:nvPr>
            <p:extLst>
              <p:ext uri="{D42A27DB-BD31-4B8C-83A1-F6EECF244321}">
                <p14:modId xmlns:p14="http://schemas.microsoft.com/office/powerpoint/2010/main" val="4194621967"/>
              </p:ext>
            </p:extLst>
          </p:nvPr>
        </p:nvGraphicFramePr>
        <p:xfrm>
          <a:off x="314478" y="4054949"/>
          <a:ext cx="4987698" cy="22977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 name="Chart 1"/>
          <p:cNvGraphicFramePr/>
          <p:nvPr>
            <p:extLst>
              <p:ext uri="{D42A27DB-BD31-4B8C-83A1-F6EECF244321}">
                <p14:modId xmlns:p14="http://schemas.microsoft.com/office/powerpoint/2010/main" val="1026935807"/>
              </p:ext>
            </p:extLst>
          </p:nvPr>
        </p:nvGraphicFramePr>
        <p:xfrm>
          <a:off x="5376085" y="4054949"/>
          <a:ext cx="6543201" cy="2343422"/>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8413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4</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299976" y="2250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4143035" y="3532009"/>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Trend</a:t>
            </a: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4143035" y="102813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April ’17</a:t>
            </a:r>
          </a:p>
        </p:txBody>
      </p:sp>
      <p:grpSp>
        <p:nvGrpSpPr>
          <p:cNvPr id="32" name="Group 31"/>
          <p:cNvGrpSpPr/>
          <p:nvPr/>
        </p:nvGrpSpPr>
        <p:grpSpPr>
          <a:xfrm>
            <a:off x="8059165" y="1446687"/>
            <a:ext cx="1782333" cy="3047569"/>
            <a:chOff x="4581549" y="-1769560"/>
            <a:chExt cx="1782333" cy="304756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81549" y="-176956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20" name="Chart 19"/>
          <p:cNvGraphicFramePr>
            <a:graphicFrameLocks/>
          </p:cNvGraphicFramePr>
          <p:nvPr>
            <p:extLst>
              <p:ext uri="{D42A27DB-BD31-4B8C-83A1-F6EECF244321}">
                <p14:modId xmlns:p14="http://schemas.microsoft.com/office/powerpoint/2010/main" val="2931930494"/>
              </p:ext>
            </p:extLst>
          </p:nvPr>
        </p:nvGraphicFramePr>
        <p:xfrm>
          <a:off x="307975" y="3976320"/>
          <a:ext cx="11591925" cy="21860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a:graphicFrameLocks/>
          </p:cNvGraphicFramePr>
          <p:nvPr>
            <p:extLst>
              <p:ext uri="{D42A27DB-BD31-4B8C-83A1-F6EECF244321}">
                <p14:modId xmlns:p14="http://schemas.microsoft.com/office/powerpoint/2010/main" val="1098465322"/>
              </p:ext>
            </p:extLst>
          </p:nvPr>
        </p:nvGraphicFramePr>
        <p:xfrm>
          <a:off x="299976" y="1477151"/>
          <a:ext cx="11585410" cy="17495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6687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5</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sp>
        <p:nvSpPr>
          <p:cNvPr id="27" name="Rectangle 26"/>
          <p:cNvSpPr/>
          <p:nvPr/>
        </p:nvSpPr>
        <p:spPr>
          <a:xfrm>
            <a:off x="155575" y="1096593"/>
            <a:ext cx="11667825" cy="350262"/>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fontAlgn="base">
              <a:spcBef>
                <a:spcPct val="0"/>
              </a:spcBef>
              <a:spcAft>
                <a:spcPct val="0"/>
              </a:spcAft>
            </a:pPr>
            <a:r>
              <a:rPr lang="en-US" altLang="en-US" sz="2000" cap="all" spc="83" dirty="0">
                <a:solidFill>
                  <a:schemeClr val="bg1"/>
                </a:solidFill>
                <a:latin typeface="Tw Cen MT Condensed" panose="020B0606020104020203"/>
                <a:ea typeface="MS PGothic" pitchFamily="34" charset="-128"/>
              </a:rPr>
              <a:t>Areas require attention</a:t>
            </a: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208" y="1762460"/>
            <a:ext cx="657852" cy="6578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Rectangle 34"/>
          <p:cNvSpPr/>
          <p:nvPr/>
        </p:nvSpPr>
        <p:spPr>
          <a:xfrm>
            <a:off x="1443234" y="1528967"/>
            <a:ext cx="9218847" cy="1077218"/>
          </a:xfrm>
          <a:prstGeom prst="rect">
            <a:avLst/>
          </a:prstGeom>
        </p:spPr>
        <p:txBody>
          <a:bodyPr wrap="square">
            <a:spAutoFit/>
          </a:bodyPr>
          <a:lstStyle/>
          <a:p>
            <a:r>
              <a:rPr lang="en-US" sz="1600" u="sng" dirty="0">
                <a:solidFill>
                  <a:prstClr val="black"/>
                </a:solidFill>
                <a:latin typeface="Tw Cen MT Condensed" panose="020B0606020104020203" pitchFamily="34" charset="0"/>
              </a:rPr>
              <a:t>Interaction with customer</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approach or give attention to customer properly. </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s was in hurry and did not give customer enough time.</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provide correct &amp; accurate information to customer.</a:t>
            </a:r>
          </a:p>
        </p:txBody>
      </p:sp>
    </p:spTree>
    <p:extLst>
      <p:ext uri="{BB962C8B-B14F-4D97-AF65-F5344CB8AC3E}">
        <p14:creationId xmlns:p14="http://schemas.microsoft.com/office/powerpoint/2010/main" val="1147458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9150185" y="6479789"/>
            <a:ext cx="2743200" cy="365125"/>
          </a:xfrm>
        </p:spPr>
        <p:txBody>
          <a:bodyPr/>
          <a:lstStyle/>
          <a:p>
            <a:fld id="{AC155779-0C73-4050-9674-9D270809896D}" type="slidenum">
              <a:rPr lang="en-US" smtClean="0"/>
              <a:t>6</a:t>
            </a:fld>
            <a:endParaRPr lang="en-US"/>
          </a:p>
        </p:txBody>
      </p:sp>
      <p:cxnSp>
        <p:nvCxnSpPr>
          <p:cNvPr id="53" name="Straight Connector 52"/>
          <p:cNvCxnSpPr/>
          <p:nvPr/>
        </p:nvCxnSpPr>
        <p:spPr>
          <a:xfrm>
            <a:off x="74809" y="50171"/>
            <a:ext cx="0" cy="703648"/>
          </a:xfrm>
          <a:prstGeom prst="line">
            <a:avLst/>
          </a:prstGeom>
          <a:noFill/>
          <a:ln w="9525" cap="flat" cmpd="sng" algn="ctr">
            <a:solidFill>
              <a:schemeClr val="tx1"/>
            </a:solidFill>
            <a:prstDash val="solid"/>
          </a:ln>
          <a:effectLst/>
        </p:spPr>
      </p:cxnSp>
      <p:sp>
        <p:nvSpPr>
          <p:cNvPr id="58" name="Rectangle 57"/>
          <p:cNvSpPr/>
          <p:nvPr/>
        </p:nvSpPr>
        <p:spPr>
          <a:xfrm>
            <a:off x="71634" y="-13504"/>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717844614"/>
              </p:ext>
            </p:extLst>
          </p:nvPr>
        </p:nvGraphicFramePr>
        <p:xfrm>
          <a:off x="133350" y="817493"/>
          <a:ext cx="11880849" cy="5351383"/>
        </p:xfrm>
        <a:graphic>
          <a:graphicData uri="http://schemas.openxmlformats.org/drawingml/2006/table">
            <a:tbl>
              <a:tblPr firstRow="1" bandRow="1">
                <a:tableStyleId>{073A0DAA-6AF3-43AB-8588-CEC1D06C72B9}</a:tableStyleId>
              </a:tblPr>
              <a:tblGrid>
                <a:gridCol w="807857">
                  <a:extLst>
                    <a:ext uri="{9D8B030D-6E8A-4147-A177-3AD203B41FA5}">
                      <a16:colId xmlns="" xmlns:a16="http://schemas.microsoft.com/office/drawing/2014/main" val="2728497402"/>
                    </a:ext>
                  </a:extLst>
                </a:gridCol>
                <a:gridCol w="1014306">
                  <a:extLst>
                    <a:ext uri="{9D8B030D-6E8A-4147-A177-3AD203B41FA5}">
                      <a16:colId xmlns="" xmlns:a16="http://schemas.microsoft.com/office/drawing/2014/main" val="20000"/>
                    </a:ext>
                  </a:extLst>
                </a:gridCol>
                <a:gridCol w="796995">
                  <a:extLst>
                    <a:ext uri="{9D8B030D-6E8A-4147-A177-3AD203B41FA5}">
                      <a16:colId xmlns="" xmlns:a16="http://schemas.microsoft.com/office/drawing/2014/main" val="20001"/>
                    </a:ext>
                  </a:extLst>
                </a:gridCol>
                <a:gridCol w="1131219">
                  <a:extLst>
                    <a:ext uri="{9D8B030D-6E8A-4147-A177-3AD203B41FA5}">
                      <a16:colId xmlns="" xmlns:a16="http://schemas.microsoft.com/office/drawing/2014/main" val="20002"/>
                    </a:ext>
                  </a:extLst>
                </a:gridCol>
                <a:gridCol w="5926047">
                  <a:extLst>
                    <a:ext uri="{9D8B030D-6E8A-4147-A177-3AD203B41FA5}">
                      <a16:colId xmlns="" xmlns:a16="http://schemas.microsoft.com/office/drawing/2014/main" val="20003"/>
                    </a:ext>
                  </a:extLst>
                </a:gridCol>
                <a:gridCol w="2204425">
                  <a:extLst>
                    <a:ext uri="{9D8B030D-6E8A-4147-A177-3AD203B41FA5}">
                      <a16:colId xmlns="" xmlns:a16="http://schemas.microsoft.com/office/drawing/2014/main" val="20004"/>
                    </a:ext>
                  </a:extLst>
                </a:gridCol>
              </a:tblGrid>
              <a:tr h="286477">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1092084">
                <a:tc>
                  <a:txBody>
                    <a:bodyPr/>
                    <a:lstStyle/>
                    <a:p>
                      <a:pPr algn="ctr" fontAlgn="ctr"/>
                      <a:r>
                        <a:rPr lang="en-US" sz="1300" b="0" i="0" u="none" strike="noStrike" dirty="0">
                          <a:solidFill>
                            <a:srgbClr val="000000"/>
                          </a:solidFill>
                          <a:effectLst/>
                          <a:latin typeface="Tw Cen MT" panose="020B0602020104020603" pitchFamily="34" charset="0"/>
                        </a:rPr>
                        <a:t>26.04.17</a:t>
                      </a:r>
                    </a:p>
                  </a:txBody>
                  <a:tcPr marL="9525" marR="9525" marT="9525" marB="0" anchor="ctr">
                    <a:solidFill>
                      <a:schemeClr val="bg1">
                        <a:lumMod val="85000"/>
                      </a:schemeClr>
                    </a:solidFill>
                  </a:tcPr>
                </a:tc>
                <a:tc rowSpan="6">
                  <a:txBody>
                    <a:bodyPr/>
                    <a:lstStyle/>
                    <a:p>
                      <a:pPr algn="ctr" fontAlgn="ctr"/>
                      <a:r>
                        <a:rPr lang="en-US" sz="1300" b="1" i="0" u="none" strike="noStrike" dirty="0">
                          <a:solidFill>
                            <a:srgbClr val="000000"/>
                          </a:solidFill>
                          <a:effectLst/>
                          <a:latin typeface="Tw Cen MT" panose="020B0602020104020603" pitchFamily="34" charset="0"/>
                        </a:rPr>
                        <a:t>LG Main Entranc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Iman” smiled warmly</a:t>
                      </a:r>
                      <a:r>
                        <a:rPr lang="en-US" sz="1300" b="0" i="0" u="none" strike="noStrike" baseline="0" dirty="0">
                          <a:solidFill>
                            <a:srgbClr val="000000"/>
                          </a:solidFill>
                          <a:effectLst/>
                          <a:latin typeface="Tw Cen MT" panose="020B0602020104020603" pitchFamily="34" charset="0"/>
                        </a:rPr>
                        <a:t> to customer. She was friendly &amp; Helpful.</a:t>
                      </a:r>
                      <a:r>
                        <a:rPr lang="en-US" sz="1300" b="0" i="0" u="none" strike="noStrike" dirty="0">
                          <a:solidFill>
                            <a:srgbClr val="000000"/>
                          </a:solidFill>
                          <a:effectLst/>
                          <a:latin typeface="Tw Cen MT" panose="020B0602020104020603" pitchFamily="34" charset="0"/>
                        </a:rPr>
                        <a:t>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he was observed helping some Chinese customers with the use of a translation card.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taff acknowledged all customers that approached the desk with a smile to recognize them but also so they understood they were already dealing with a customer.</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It was difficult to identify the staff's name as it was covered by their Abaya.</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91820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When customer enquired about any upcoming events for Easter for children - staff informed customer of the plunge activity (free for customer’s children).</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Customer asked for the concierge service - to take bags to the fashion valet and she suggested a porter service instead.  </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730950">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greeted guest saying "good morning mam how can I help you"?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was friendly and polite.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helped guest with enquiries and was extremely informative providing alternatives.</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3326529287"/>
                  </a:ext>
                </a:extLst>
              </a:tr>
              <a:tr h="911517">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was well aware of Aquarium timings, location </a:t>
                      </a:r>
                      <a:r>
                        <a:rPr lang="en-US" sz="1300" b="0" i="0" u="none" strike="noStrike" baseline="0" dirty="0" err="1">
                          <a:solidFill>
                            <a:srgbClr val="000000"/>
                          </a:solidFill>
                          <a:effectLst/>
                          <a:latin typeface="Tw Cen MT" panose="020B0602020104020603" pitchFamily="34" charset="0"/>
                        </a:rPr>
                        <a:t>fo</a:t>
                      </a:r>
                      <a:r>
                        <a:rPr lang="en-US" sz="1300" b="0" i="0" u="none" strike="noStrike" baseline="0" dirty="0">
                          <a:solidFill>
                            <a:srgbClr val="000000"/>
                          </a:solidFill>
                          <a:effectLst/>
                          <a:latin typeface="Tw Cen MT" panose="020B0602020104020603" pitchFamily="34" charset="0"/>
                        </a:rPr>
                        <a:t> certain retail shops and when asked </a:t>
                      </a:r>
                      <a:r>
                        <a:rPr lang="en-US" sz="1300" b="0" i="0" u="none" strike="noStrike" dirty="0">
                          <a:solidFill>
                            <a:srgbClr val="000000"/>
                          </a:solidFill>
                          <a:effectLst/>
                          <a:latin typeface="Tw Cen MT" panose="020B0602020104020603" pitchFamily="34" charset="0"/>
                        </a:rPr>
                        <a:t>why Ping Pong closed and where they moved to,</a:t>
                      </a:r>
                      <a:r>
                        <a:rPr lang="en-US" sz="1300" b="0" i="0" u="none" strike="noStrike" baseline="0" dirty="0">
                          <a:solidFill>
                            <a:srgbClr val="000000"/>
                          </a:solidFill>
                          <a:effectLst/>
                          <a:latin typeface="Tw Cen MT" panose="020B0602020104020603" pitchFamily="34" charset="0"/>
                        </a:rPr>
                        <a:t> he</a:t>
                      </a:r>
                      <a:r>
                        <a:rPr lang="en-US" sz="1300" b="0" i="0" u="none" strike="noStrike" dirty="0">
                          <a:solidFill>
                            <a:srgbClr val="000000"/>
                          </a:solidFill>
                          <a:effectLst/>
                          <a:latin typeface="Tw Cen MT" panose="020B0602020104020603" pitchFamily="34" charset="0"/>
                        </a:rPr>
                        <a:t> stated he did not have information on the next location but suggested Noodle House as an alternative with similar options.   </a:t>
                      </a:r>
                      <a:br>
                        <a:rPr lang="en-US" sz="1300" b="0" i="0" u="none" strike="noStrike" dirty="0">
                          <a:solidFill>
                            <a:srgbClr val="000000"/>
                          </a:solidFill>
                          <a:effectLst/>
                          <a:latin typeface="Tw Cen MT" panose="020B0602020104020603" pitchFamily="34" charset="0"/>
                        </a:rPr>
                      </a:b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818874">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err="1">
                          <a:solidFill>
                            <a:srgbClr val="000000"/>
                          </a:solidFill>
                          <a:effectLst/>
                          <a:latin typeface="Tw Cen MT" panose="020B0602020104020603" pitchFamily="34" charset="0"/>
                        </a:rPr>
                        <a:t>Asssociate</a:t>
                      </a:r>
                      <a:r>
                        <a:rPr lang="en-US" sz="1300" b="0" i="0" u="none" strike="noStrike" dirty="0">
                          <a:solidFill>
                            <a:srgbClr val="000000"/>
                          </a:solidFill>
                          <a:effectLst/>
                          <a:latin typeface="Tw Cen MT" panose="020B0602020104020603" pitchFamily="34" charset="0"/>
                        </a:rPr>
                        <a:t>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deserves recognition for being polite, informative, providing extra details and for promoting other brands within the mall as another alternativ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6981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5:44</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The 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a:t>
                      </a:r>
                      <a:r>
                        <a:rPr lang="en-US" sz="1300" b="0" i="0" u="none" strike="noStrike" dirty="0">
                          <a:solidFill>
                            <a:srgbClr val="000000"/>
                          </a:solidFill>
                          <a:effectLst/>
                          <a:latin typeface="Tw Cen MT" panose="020B0602020104020603" pitchFamily="34" charset="0"/>
                        </a:rPr>
                        <a:t>informed the guest about the entertainment available at the mall with the timing/price and he wrote names on paper.</a:t>
                      </a:r>
                    </a:p>
                  </a:txBody>
                  <a:tcPr marL="9525" marR="9525" marT="9525" marB="0" anchor="b">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1102911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7</a:t>
            </a:fld>
            <a:endParaRPr lang="en-US"/>
          </a:p>
        </p:txBody>
      </p:sp>
      <p:cxnSp>
        <p:nvCxnSpPr>
          <p:cNvPr id="53" name="Straight Connector 52"/>
          <p:cNvCxnSpPr/>
          <p:nvPr/>
        </p:nvCxnSpPr>
        <p:spPr>
          <a:xfrm>
            <a:off x="74809" y="86999"/>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2332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207232586"/>
              </p:ext>
            </p:extLst>
          </p:nvPr>
        </p:nvGraphicFramePr>
        <p:xfrm>
          <a:off x="155575" y="854322"/>
          <a:ext cx="11934825" cy="5877869"/>
        </p:xfrm>
        <a:graphic>
          <a:graphicData uri="http://schemas.openxmlformats.org/drawingml/2006/table">
            <a:tbl>
              <a:tblPr firstRow="1" bandRow="1">
                <a:tableStyleId>{073A0DAA-6AF3-43AB-8588-CEC1D06C72B9}</a:tableStyleId>
              </a:tblPr>
              <a:tblGrid>
                <a:gridCol w="991085">
                  <a:extLst>
                    <a:ext uri="{9D8B030D-6E8A-4147-A177-3AD203B41FA5}">
                      <a16:colId xmlns:a16="http://schemas.microsoft.com/office/drawing/2014/main" xmlns:p14="http://schemas.microsoft.com/office/powerpoint/2010/main" xmlns:a14="http://schemas.microsoft.com/office/drawing/2010/main" xmlns="" val="2728497402"/>
                    </a:ext>
                  </a:extLst>
                </a:gridCol>
                <a:gridCol w="1368795">
                  <a:extLst>
                    <a:ext uri="{9D8B030D-6E8A-4147-A177-3AD203B41FA5}">
                      <a16:colId xmlns:a16="http://schemas.microsoft.com/office/drawing/2014/main" xmlns:p14="http://schemas.microsoft.com/office/powerpoint/2010/main" xmlns:a14="http://schemas.microsoft.com/office/drawing/2010/main" xmlns="" val="20000"/>
                    </a:ext>
                  </a:extLst>
                </a:gridCol>
                <a:gridCol w="735745">
                  <a:extLst>
                    <a:ext uri="{9D8B030D-6E8A-4147-A177-3AD203B41FA5}">
                      <a16:colId xmlns:a16="http://schemas.microsoft.com/office/drawing/2014/main" xmlns:p14="http://schemas.microsoft.com/office/powerpoint/2010/main" xmlns:a14="http://schemas.microsoft.com/office/drawing/2010/main" xmlns="" val="20001"/>
                    </a:ext>
                  </a:extLst>
                </a:gridCol>
                <a:gridCol w="1371600">
                  <a:extLst>
                    <a:ext uri="{9D8B030D-6E8A-4147-A177-3AD203B41FA5}">
                      <a16:colId xmlns:a16="http://schemas.microsoft.com/office/drawing/2014/main" xmlns:p14="http://schemas.microsoft.com/office/powerpoint/2010/main" xmlns:a14="http://schemas.microsoft.com/office/drawing/2010/main" xmlns="" val="20002"/>
                    </a:ext>
                  </a:extLst>
                </a:gridCol>
                <a:gridCol w="5143500">
                  <a:extLst>
                    <a:ext uri="{9D8B030D-6E8A-4147-A177-3AD203B41FA5}">
                      <a16:colId xmlns:a16="http://schemas.microsoft.com/office/drawing/2014/main" xmlns:p14="http://schemas.microsoft.com/office/powerpoint/2010/main" xmlns:a14="http://schemas.microsoft.com/office/drawing/2010/main" xmlns="" val="20003"/>
                    </a:ext>
                  </a:extLst>
                </a:gridCol>
                <a:gridCol w="2324100">
                  <a:extLst>
                    <a:ext uri="{9D8B030D-6E8A-4147-A177-3AD203B41FA5}">
                      <a16:colId xmlns:a16="http://schemas.microsoft.com/office/drawing/2014/main" xmlns:p14="http://schemas.microsoft.com/office/powerpoint/2010/main" xmlns:a14="http://schemas.microsoft.com/office/drawing/2010/main" xmlns="" val="20004"/>
                    </a:ext>
                  </a:extLst>
                </a:gridCol>
              </a:tblGrid>
              <a:tr h="292265">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p14="http://schemas.microsoft.com/office/powerpoint/2010/main" xmlns:a14="http://schemas.microsoft.com/office/drawing/2010/main" xmlns="" val="10000"/>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9">
                  <a:txBody>
                    <a:bodyPr/>
                    <a:lstStyle/>
                    <a:p>
                      <a:pPr algn="l" fontAlgn="ctr"/>
                      <a:r>
                        <a:rPr lang="en-US" sz="1200" b="1" i="0" u="none" strike="noStrike" dirty="0">
                          <a:solidFill>
                            <a:srgbClr val="000000"/>
                          </a:solidFill>
                          <a:effectLst/>
                          <a:latin typeface="Tw Cen MT" panose="020B0602020104020603" pitchFamily="34" charset="0"/>
                        </a:rPr>
                        <a:t>FF Cinema</a:t>
                      </a:r>
                      <a:r>
                        <a:rPr lang="en-US" sz="1200" b="1" i="0" u="none" strike="noStrike" baseline="0" dirty="0">
                          <a:solidFill>
                            <a:srgbClr val="000000"/>
                          </a:solidFill>
                          <a:effectLst/>
                          <a:latin typeface="Tw Cen MT" panose="020B0602020104020603" pitchFamily="34" charset="0"/>
                        </a:rPr>
                        <a:t> Parking</a:t>
                      </a: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was very friendly, he was genuinely interested in helping the guest and took his time to explain all transport options in details.</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1"/>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7-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Paul”</a:t>
                      </a:r>
                      <a:r>
                        <a:rPr lang="en-US" sz="1200" b="0" i="0" u="none" strike="noStrike" dirty="0">
                          <a:solidFill>
                            <a:srgbClr val="000000"/>
                          </a:solidFill>
                          <a:effectLst/>
                          <a:latin typeface="Tw Cen MT" panose="020B0602020104020603" pitchFamily="34" charset="0"/>
                        </a:rPr>
                        <a:t> was professional and helpful when answering the guest's queries; he took the time to explain the information in full detail.</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2"/>
                  </a:ext>
                </a:extLst>
              </a:tr>
              <a:tr h="263925">
                <a:tc>
                  <a:txBody>
                    <a:bodyPr/>
                    <a:lstStyle/>
                    <a:p>
                      <a:pPr algn="ctr" fontAlgn="ctr"/>
                      <a:r>
                        <a:rPr lang="en-US" sz="1200" b="0" i="0" u="none" strike="noStrike" dirty="0">
                          <a:solidFill>
                            <a:srgbClr val="000000"/>
                          </a:solidFill>
                          <a:effectLst/>
                          <a:latin typeface="Tw Cen MT" panose="020B0602020104020603" pitchFamily="34" charset="0"/>
                        </a:rPr>
                        <a:t>28-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English skills was fluent, his responses were correct.</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3"/>
                  </a:ext>
                </a:extLst>
              </a:tr>
              <a:tr h="1806743">
                <a:tc>
                  <a:txBody>
                    <a:bodyPr/>
                    <a:lstStyle/>
                    <a:p>
                      <a:pPr algn="ctr" fontAlgn="ctr"/>
                      <a:r>
                        <a:rPr lang="en-US" sz="1200" b="0" i="0" u="none" strike="noStrike" dirty="0">
                          <a:solidFill>
                            <a:srgbClr val="000000"/>
                          </a:solidFill>
                          <a:effectLst/>
                          <a:latin typeface="Tw Cen MT" panose="020B0602020104020603" pitchFamily="34" charset="0"/>
                        </a:rPr>
                        <a:t>29-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greeted the guest when being approached.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Paul” was very friendly and showed an interest in helping the guest with her enquiry.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asked about public transport from the mall to Marina. Paul took his time to explain various options (such as bus 81 to Jumeirah, and then metro or direct metro line to Marina). Paul also highlighted that a metro card will be required and enquired if the guest had got one. When the guest said no, Paul directed the guest to the ticket machine on LG and later explained the way to metro link bridge. Paul also quoted the standard one way rate of AED 14.            </a:t>
                      </a:r>
                      <a:br>
                        <a:rPr lang="en-US" sz="1200" b="0" i="0" u="none" strike="noStrike" dirty="0">
                          <a:solidFill>
                            <a:srgbClr val="000000"/>
                          </a:solidFill>
                          <a:effectLst/>
                          <a:latin typeface="Tw Cen MT" panose="020B0602020104020603" pitchFamily="34" charset="0"/>
                        </a:rPr>
                      </a:b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3326529287"/>
                  </a:ext>
                </a:extLst>
              </a:tr>
              <a:tr h="662416">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had a friendly attitude even though she did not hang up a phone call she was attending</a:t>
                      </a:r>
                      <a:r>
                        <a:rPr lang="en-US" sz="1200" b="0" i="0" u="none" strike="noStrike" baseline="0" dirty="0">
                          <a:solidFill>
                            <a:srgbClr val="000000"/>
                          </a:solidFill>
                          <a:effectLst/>
                          <a:latin typeface="Tw Cen MT" panose="020B0602020104020603" pitchFamily="34" charset="0"/>
                        </a:rPr>
                        <a:t> to.</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Yen Zheng” did not get off the phone when guest approached but smiled at guest and nodded.</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4"/>
                  </a:ext>
                </a:extLst>
              </a:tr>
              <a:tr h="596514">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nformed guest of At the Top timings as well as fountain timings; informed customer</a:t>
                      </a:r>
                      <a:r>
                        <a:rPr lang="en-US" sz="1200" b="0" i="0" u="none" strike="noStrike" baseline="0" dirty="0">
                          <a:solidFill>
                            <a:srgbClr val="000000"/>
                          </a:solidFill>
                          <a:effectLst/>
                          <a:latin typeface="Tw Cen MT" panose="020B0602020104020603" pitchFamily="34" charset="0"/>
                        </a:rPr>
                        <a:t> of </a:t>
                      </a:r>
                      <a:r>
                        <a:rPr lang="en-US" sz="1200" b="0" i="0" u="none" strike="noStrike" dirty="0">
                          <a:solidFill>
                            <a:srgbClr val="000000"/>
                          </a:solidFill>
                          <a:effectLst/>
                          <a:latin typeface="Tw Cen MT" panose="020B0602020104020603" pitchFamily="34" charset="0"/>
                        </a:rPr>
                        <a:t>EZ taxi service and charges to move around mall .   </a:t>
                      </a:r>
                    </a:p>
                  </a:txBody>
                  <a:tcPr marL="9525" marR="9525" marT="9525" marB="0" anchor="b">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5"/>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s very helpful, friendly and she engaged with the kid a polite chatting</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6"/>
                  </a:ext>
                </a:extLst>
              </a:tr>
              <a:tr h="360237">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ung Zeng" greeted the guest in and appealing and smiley</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manne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7"/>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Yen Zheng” assisted guest to </a:t>
                      </a:r>
                      <a:r>
                        <a:rPr lang="en-US" sz="1200" b="0" i="0" u="none" strike="noStrike" dirty="0">
                          <a:solidFill>
                            <a:srgbClr val="000000"/>
                          </a:solidFill>
                          <a:effectLst/>
                          <a:latin typeface="Tw Cen MT" panose="020B0602020104020603" pitchFamily="34" charset="0"/>
                        </a:rPr>
                        <a:t>fined where the guest had parked their ca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p14="http://schemas.microsoft.com/office/powerpoint/2010/main" xmlns:a14="http://schemas.microsoft.com/office/drawing/2010/main" xmlns="" val="10008"/>
                  </a:ext>
                </a:extLst>
              </a:tr>
            </a:tbl>
          </a:graphicData>
        </a:graphic>
      </p:graphicFrame>
    </p:spTree>
    <p:extLst>
      <p:ext uri="{BB962C8B-B14F-4D97-AF65-F5344CB8AC3E}">
        <p14:creationId xmlns:p14="http://schemas.microsoft.com/office/powerpoint/2010/main" val="207259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9017000" y="6411949"/>
            <a:ext cx="2743200" cy="365125"/>
          </a:xfrm>
        </p:spPr>
        <p:txBody>
          <a:bodyPr/>
          <a:lstStyle/>
          <a:p>
            <a:fld id="{AC155779-0C73-4050-9674-9D270809896D}" type="slidenum">
              <a:rPr lang="en-US" smtClean="0"/>
              <a:t>8</a:t>
            </a:fld>
            <a:endParaRPr lang="en-US"/>
          </a:p>
        </p:txBody>
      </p:sp>
      <p:cxnSp>
        <p:nvCxnSpPr>
          <p:cNvPr id="53" name="Straight Connector 52"/>
          <p:cNvCxnSpPr/>
          <p:nvPr/>
        </p:nvCxnSpPr>
        <p:spPr>
          <a:xfrm>
            <a:off x="100209" y="77365"/>
            <a:ext cx="0" cy="703648"/>
          </a:xfrm>
          <a:prstGeom prst="line">
            <a:avLst/>
          </a:prstGeom>
          <a:noFill/>
          <a:ln w="9525" cap="flat" cmpd="sng" algn="ctr">
            <a:solidFill>
              <a:schemeClr val="tx1"/>
            </a:solidFill>
            <a:prstDash val="solid"/>
          </a:ln>
          <a:effectLst/>
        </p:spPr>
      </p:cxnSp>
      <p:sp>
        <p:nvSpPr>
          <p:cNvPr id="58" name="Rectangle 57"/>
          <p:cNvSpPr/>
          <p:nvPr/>
        </p:nvSpPr>
        <p:spPr>
          <a:xfrm>
            <a:off x="153830" y="13691"/>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3079743452"/>
              </p:ext>
            </p:extLst>
          </p:nvPr>
        </p:nvGraphicFramePr>
        <p:xfrm>
          <a:off x="165163" y="993590"/>
          <a:ext cx="11728221" cy="5664091"/>
        </p:xfrm>
        <a:graphic>
          <a:graphicData uri="http://schemas.openxmlformats.org/drawingml/2006/table">
            <a:tbl>
              <a:tblPr firstRow="1" bandRow="1">
                <a:tableStyleId>{073A0DAA-6AF3-43AB-8588-CEC1D06C72B9}</a:tableStyleId>
              </a:tblPr>
              <a:tblGrid>
                <a:gridCol w="977837">
                  <a:extLst>
                    <a:ext uri="{9D8B030D-6E8A-4147-A177-3AD203B41FA5}">
                      <a16:colId xmlns="" xmlns:a16="http://schemas.microsoft.com/office/drawing/2014/main" val="2728497402"/>
                    </a:ext>
                  </a:extLst>
                </a:gridCol>
                <a:gridCol w="1028700">
                  <a:extLst>
                    <a:ext uri="{9D8B030D-6E8A-4147-A177-3AD203B41FA5}">
                      <a16:colId xmlns="" xmlns:a16="http://schemas.microsoft.com/office/drawing/2014/main" val="20000"/>
                    </a:ext>
                  </a:extLst>
                </a:gridCol>
                <a:gridCol w="896566">
                  <a:extLst>
                    <a:ext uri="{9D8B030D-6E8A-4147-A177-3AD203B41FA5}">
                      <a16:colId xmlns="" xmlns:a16="http://schemas.microsoft.com/office/drawing/2014/main" val="20001"/>
                    </a:ext>
                  </a:extLst>
                </a:gridCol>
                <a:gridCol w="1427534">
                  <a:extLst>
                    <a:ext uri="{9D8B030D-6E8A-4147-A177-3AD203B41FA5}">
                      <a16:colId xmlns="" xmlns:a16="http://schemas.microsoft.com/office/drawing/2014/main" val="20002"/>
                    </a:ext>
                  </a:extLst>
                </a:gridCol>
                <a:gridCol w="4506090">
                  <a:extLst>
                    <a:ext uri="{9D8B030D-6E8A-4147-A177-3AD203B41FA5}">
                      <a16:colId xmlns="" xmlns:a16="http://schemas.microsoft.com/office/drawing/2014/main" val="20003"/>
                    </a:ext>
                  </a:extLst>
                </a:gridCol>
                <a:gridCol w="2891494">
                  <a:extLst>
                    <a:ext uri="{9D8B030D-6E8A-4147-A177-3AD203B41FA5}">
                      <a16:colId xmlns="" xmlns:a16="http://schemas.microsoft.com/office/drawing/2014/main" val="20004"/>
                    </a:ext>
                  </a:extLst>
                </a:gridCol>
              </a:tblGrid>
              <a:tr h="323848">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399042">
                <a:tc>
                  <a:txBody>
                    <a:bodyPr/>
                    <a:lstStyle/>
                    <a:p>
                      <a:pPr algn="l" fontAlgn="ctr"/>
                      <a:r>
                        <a:rPr lang="en-US" sz="1400" b="0" i="0" u="none" strike="noStrike" dirty="0">
                          <a:solidFill>
                            <a:srgbClr val="000000"/>
                          </a:solidFill>
                          <a:effectLst/>
                          <a:latin typeface="Tw Cen MT" panose="020B0602020104020603" pitchFamily="34" charset="0"/>
                        </a:rPr>
                        <a:t>30-Apr-17</a:t>
                      </a:r>
                    </a:p>
                  </a:txBody>
                  <a:tcPr marL="9525" marR="9525" marT="9525" marB="0" anchor="ctr">
                    <a:solidFill>
                      <a:schemeClr val="bg1">
                        <a:lumMod val="85000"/>
                      </a:schemeClr>
                    </a:solidFill>
                  </a:tcPr>
                </a:tc>
                <a:tc rowSpan="8">
                  <a:txBody>
                    <a:bodyPr/>
                    <a:lstStyle/>
                    <a:p>
                      <a:pPr algn="ctr" fontAlgn="ctr"/>
                      <a:r>
                        <a:rPr lang="en-US" sz="1400" b="1" i="0" u="none" strike="noStrike" dirty="0">
                          <a:solidFill>
                            <a:srgbClr val="000000"/>
                          </a:solidFill>
                          <a:effectLst/>
                          <a:latin typeface="Tw Cen MT" panose="020B0602020104020603" pitchFamily="34" charset="0"/>
                        </a:rPr>
                        <a:t>SF Cinema Parking</a:t>
                      </a: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3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Akhror</a:t>
                      </a:r>
                      <a:r>
                        <a:rPr lang="en-US" sz="1400" b="0" i="0" u="none" strike="noStrike" dirty="0">
                          <a:solidFill>
                            <a:srgbClr val="000000"/>
                          </a:solidFill>
                          <a:effectLst/>
                          <a:latin typeface="Tw Cen MT" panose="020B0602020104020603" pitchFamily="34" charset="0"/>
                        </a:rPr>
                        <a:t>” was polite and smiling during the conversation.</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1374865">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marR="0" lvl="0" indent="-2857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dirty="0">
                          <a:solidFill>
                            <a:srgbClr val="000000"/>
                          </a:solidFill>
                          <a:effectLst/>
                          <a:latin typeface="Tw Cen MT" panose="020B0602020104020603" pitchFamily="34" charset="0"/>
                        </a:rPr>
                        <a:t> Yang” stayed on the phone and did not hang up as guest approached counter (the phone call was clearly personal as staff member was laughing on the phone). </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94207">
                <a:tc vMerge="1">
                  <a:txBody>
                    <a:bodyPr/>
                    <a:lstStyle/>
                    <a:p>
                      <a:endParaRPr lang="en-US"/>
                    </a:p>
                  </a:txBody>
                  <a:tcPr/>
                </a:tc>
                <a:tc vMerge="1">
                  <a:txBody>
                    <a:bodyPr/>
                    <a:lstStyle/>
                    <a:p>
                      <a:endParaRPr lang="en-US"/>
                    </a:p>
                  </a:txBody>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baseline="0" dirty="0">
                          <a:solidFill>
                            <a:srgbClr val="000000"/>
                          </a:solidFill>
                          <a:effectLst/>
                          <a:latin typeface="Tw Cen MT" panose="020B0602020104020603" pitchFamily="34" charset="0"/>
                        </a:rPr>
                        <a:t> Yang” was able to assist customer with all their queries.</a:t>
                      </a:r>
                      <a:r>
                        <a:rPr lang="en-US" sz="1400" b="0" i="0" u="none" strike="noStrike" dirty="0">
                          <a:solidFill>
                            <a:srgbClr val="000000"/>
                          </a:solidFill>
                          <a:effectLst/>
                          <a:latin typeface="Tw Cen MT" panose="020B0602020104020603" pitchFamily="34" charset="0"/>
                        </a:rPr>
                        <a:t>    </a:t>
                      </a:r>
                      <a:br>
                        <a:rPr lang="en-US" sz="1400" b="0" i="0" u="none" strike="noStrike" dirty="0">
                          <a:solidFill>
                            <a:srgbClr val="000000"/>
                          </a:solidFill>
                          <a:effectLst/>
                          <a:latin typeface="Tw Cen MT" panose="020B0602020104020603" pitchFamily="34" charset="0"/>
                        </a:rPr>
                      </a:b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2743832419"/>
                  </a:ext>
                </a:extLst>
              </a:tr>
              <a:tr h="292444">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Staff member was helpful regardless of phone call.</a:t>
                      </a:r>
                    </a:p>
                  </a:txBody>
                  <a:tcPr marL="9525" marR="9525" marT="9525" marB="0" anchor="ctr">
                    <a:solidFill>
                      <a:schemeClr val="bg1">
                        <a:lumMod val="85000"/>
                      </a:schemeClr>
                    </a:solidFill>
                  </a:tcPr>
                </a:tc>
                <a:tc>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594207">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in a hurry and didn't give the guest enough time.</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10783">
                <a:tc vMerge="1">
                  <a:txBody>
                    <a:bodyPr/>
                    <a:lstStyle/>
                    <a:p>
                      <a:endParaRPr lang="en-US"/>
                    </a:p>
                  </a:txBody>
                  <a:tcPr/>
                </a:tc>
                <a:tc vMerge="1">
                  <a:txBody>
                    <a:bodyPr/>
                    <a:lstStyle/>
                    <a:p>
                      <a:endParaRPr lang="en-US"/>
                    </a:p>
                  </a:txBody>
                  <a:tcPr/>
                </a:tc>
                <a:tc rowSpan="2">
                  <a:txBody>
                    <a:bodyPr/>
                    <a:lstStyle/>
                    <a:p>
                      <a:pPr algn="l" fontAlgn="ctr"/>
                      <a:r>
                        <a:rPr lang="en-US" sz="1400" b="0" i="0" u="none" strike="noStrike" dirty="0">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rowSpan="2">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greeted the guest properly.</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2714929183"/>
                  </a:ext>
                </a:extLst>
              </a:tr>
              <a:tr h="763731">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756451213"/>
                  </a:ext>
                </a:extLst>
              </a:tr>
              <a:tr h="594207">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informed the guest to nearest pick up point and he directed the guest to the metro and informed the guest that the metro is easier to go to </a:t>
                      </a:r>
                      <a:r>
                        <a:rPr lang="en-US" sz="1400" b="0" i="0" u="none" strike="noStrike" dirty="0" err="1">
                          <a:solidFill>
                            <a:srgbClr val="000000"/>
                          </a:solidFill>
                          <a:effectLst/>
                          <a:latin typeface="Tw Cen MT" panose="020B0602020104020603" pitchFamily="34" charset="0"/>
                        </a:rPr>
                        <a:t>Deira</a:t>
                      </a:r>
                      <a:r>
                        <a:rPr lang="en-US" sz="1400" b="0" i="0" u="none" strike="noStrike" dirty="0">
                          <a:solidFill>
                            <a:srgbClr val="000000"/>
                          </a:solidFill>
                          <a:effectLst/>
                          <a:latin typeface="Tw Cen MT" panose="020B0602020104020603" pitchFamily="34" charset="0"/>
                        </a:rPr>
                        <a:t> City Center.</a:t>
                      </a:r>
                    </a:p>
                  </a:txBody>
                  <a:tcPr marL="9525" marR="9525" marT="9525" marB="0" anchor="b">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379792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2/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9</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090965639"/>
              </p:ext>
            </p:extLst>
          </p:nvPr>
        </p:nvGraphicFramePr>
        <p:xfrm>
          <a:off x="155575" y="748999"/>
          <a:ext cx="11871324" cy="5932160"/>
        </p:xfrm>
        <a:graphic>
          <a:graphicData uri="http://schemas.openxmlformats.org/drawingml/2006/table">
            <a:tbl>
              <a:tblPr firstRow="1" bandRow="1">
                <a:tableStyleId>{073A0DAA-6AF3-43AB-8588-CEC1D06C72B9}</a:tableStyleId>
              </a:tblPr>
              <a:tblGrid>
                <a:gridCol w="1074386">
                  <a:extLst>
                    <a:ext uri="{9D8B030D-6E8A-4147-A177-3AD203B41FA5}">
                      <a16:colId xmlns="" xmlns:a16="http://schemas.microsoft.com/office/drawing/2014/main" val="20000"/>
                    </a:ext>
                  </a:extLst>
                </a:gridCol>
                <a:gridCol w="1153071">
                  <a:extLst>
                    <a:ext uri="{9D8B030D-6E8A-4147-A177-3AD203B41FA5}">
                      <a16:colId xmlns="" xmlns:a16="http://schemas.microsoft.com/office/drawing/2014/main" val="3421738776"/>
                    </a:ext>
                  </a:extLst>
                </a:gridCol>
                <a:gridCol w="969768">
                  <a:extLst>
                    <a:ext uri="{9D8B030D-6E8A-4147-A177-3AD203B41FA5}">
                      <a16:colId xmlns="" xmlns:a16="http://schemas.microsoft.com/office/drawing/2014/main" val="20001"/>
                    </a:ext>
                  </a:extLst>
                </a:gridCol>
                <a:gridCol w="1473200">
                  <a:extLst>
                    <a:ext uri="{9D8B030D-6E8A-4147-A177-3AD203B41FA5}">
                      <a16:colId xmlns="" xmlns:a16="http://schemas.microsoft.com/office/drawing/2014/main" val="20002"/>
                    </a:ext>
                  </a:extLst>
                </a:gridCol>
                <a:gridCol w="4013200">
                  <a:extLst>
                    <a:ext uri="{9D8B030D-6E8A-4147-A177-3AD203B41FA5}">
                      <a16:colId xmlns="" xmlns:a16="http://schemas.microsoft.com/office/drawing/2014/main" val="20003"/>
                    </a:ext>
                  </a:extLst>
                </a:gridCol>
                <a:gridCol w="3187699">
                  <a:extLst>
                    <a:ext uri="{9D8B030D-6E8A-4147-A177-3AD203B41FA5}">
                      <a16:colId xmlns="" xmlns:a16="http://schemas.microsoft.com/office/drawing/2014/main" val="20004"/>
                    </a:ext>
                  </a:extLst>
                </a:gridCol>
              </a:tblGrid>
              <a:tr h="428523">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15943">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LG Café Court</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4: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Mercanto</a:t>
                      </a:r>
                      <a:r>
                        <a:rPr lang="en-US" sz="1200" b="0" i="0" u="none" strike="noStrike" dirty="0">
                          <a:solidFill>
                            <a:srgbClr val="000000"/>
                          </a:solidFill>
                          <a:effectLst/>
                          <a:latin typeface="Tw Cen MT" panose="020B0602020104020603" pitchFamily="34" charset="0"/>
                        </a:rPr>
                        <a:t>" greeted the guest properly with a smile.</a:t>
                      </a:r>
                    </a:p>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Edwin” was very friendly and he engaged in a polite chatting with the kid.</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8">
                  <a:txBody>
                    <a:bodyPr/>
                    <a:lstStyle/>
                    <a:p>
                      <a:pPr algn="l" fontAlgn="ctr"/>
                      <a:r>
                        <a:rPr lang="en-US" sz="1200" b="1" i="0" u="none" strike="noStrike" dirty="0">
                          <a:solidFill>
                            <a:srgbClr val="000000"/>
                          </a:solidFill>
                          <a:effectLst/>
                          <a:latin typeface="Tw Cen MT" panose="020B0602020104020603" pitchFamily="34" charset="0"/>
                        </a:rPr>
                        <a:t>GF Ice Rink</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taff "</a:t>
                      </a:r>
                      <a:r>
                        <a:rPr lang="en-US" sz="1200" b="0" i="0" u="none" strike="noStrike" dirty="0" err="1">
                          <a:solidFill>
                            <a:srgbClr val="000000"/>
                          </a:solidFill>
                          <a:effectLst/>
                          <a:latin typeface="Tw Cen MT" panose="020B0602020104020603" pitchFamily="34" charset="0"/>
                        </a:rPr>
                        <a:t>Bakham</a:t>
                      </a:r>
                      <a:r>
                        <a:rPr lang="en-US" sz="1200" b="0" i="0" u="none" strike="noStrike" dirty="0">
                          <a:solidFill>
                            <a:srgbClr val="000000"/>
                          </a:solidFill>
                          <a:effectLst/>
                          <a:latin typeface="Tw Cen MT" panose="020B0602020104020603" pitchFamily="34" charset="0"/>
                        </a:rPr>
                        <a:t>" didn't greet the guest he just waited for the guest to ask the enquiry. He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s available, he informed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only.</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staff was in hurry and didn't give the guest enough time. She informed the guest the wrong price for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1136418">
                <a:tc rowSpan="2">
                  <a:txBody>
                    <a:bodyPr/>
                    <a:lstStyle/>
                    <a:p>
                      <a:pPr algn="ctr" fontAlgn="ctr"/>
                      <a:r>
                        <a:rPr lang="en-US" sz="1200" b="0" i="0" u="none" strike="noStrike" dirty="0">
                          <a:solidFill>
                            <a:srgbClr val="000000"/>
                          </a:solidFill>
                          <a:effectLst/>
                          <a:latin typeface="Tw Cen MT" panose="020B0602020104020603" pitchFamily="34" charset="0"/>
                        </a:rPr>
                        <a:t>22-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baseline="0" dirty="0" err="1">
                          <a:solidFill>
                            <a:srgbClr val="000000"/>
                          </a:solidFill>
                          <a:effectLst/>
                          <a:latin typeface="Tw Cen MT" panose="020B0602020104020603" pitchFamily="34" charset="0"/>
                        </a:rPr>
                        <a:t>B</a:t>
                      </a:r>
                      <a:r>
                        <a:rPr lang="en-US" sz="1200" b="0" i="0" u="none" strike="noStrike" dirty="0" err="1">
                          <a:solidFill>
                            <a:srgbClr val="000000"/>
                          </a:solidFill>
                          <a:effectLst/>
                          <a:latin typeface="Tw Cen MT" panose="020B0602020104020603" pitchFamily="34" charset="0"/>
                        </a:rPr>
                        <a:t>akhram</a:t>
                      </a:r>
                      <a:r>
                        <a:rPr lang="en-US" sz="1200" b="0" i="0" u="none" strike="noStrike" dirty="0">
                          <a:solidFill>
                            <a:srgbClr val="000000"/>
                          </a:solidFill>
                          <a:effectLst/>
                          <a:latin typeface="Tw Cen MT" panose="020B0602020104020603" pitchFamily="34" charset="0"/>
                        </a:rPr>
                        <a:t>” was very polite, soft spoken and greeted the guest "Hello, how can I help?"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inquired where he can buy a pre-paid sim card.</a:t>
                      </a:r>
                      <a:r>
                        <a:rPr lang="en-US" sz="1200" b="0" i="0" u="none" strike="noStrike" baseline="0" dirty="0">
                          <a:solidFill>
                            <a:srgbClr val="000000"/>
                          </a:solidFill>
                          <a:effectLst/>
                          <a:latin typeface="Tw Cen MT" panose="020B0602020104020603" pitchFamily="34" charset="0"/>
                        </a:rPr>
                        <a:t> Associate “</a:t>
                      </a:r>
                      <a:r>
                        <a:rPr lang="en-US" sz="1200" b="0" i="0" u="none" strike="noStrike" dirty="0" err="1">
                          <a:solidFill>
                            <a:srgbClr val="000000"/>
                          </a:solidFill>
                          <a:effectLst/>
                          <a:latin typeface="Tw Cen MT" panose="020B0602020104020603" pitchFamily="34" charset="0"/>
                        </a:rPr>
                        <a:t>Bakhram</a:t>
                      </a:r>
                      <a:r>
                        <a:rPr lang="en-US" sz="1200" b="0" i="0" u="none" strike="noStrike" dirty="0">
                          <a:solidFill>
                            <a:srgbClr val="000000"/>
                          </a:solidFill>
                          <a:effectLst/>
                          <a:latin typeface="Tw Cen MT" panose="020B0602020104020603" pitchFamily="34" charset="0"/>
                        </a:rPr>
                        <a:t>” enquired if the guest wanted to buy Du or Etisalat and explained the direction to both locations.    </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95556380"/>
                  </a:ext>
                </a:extLst>
              </a:tr>
              <a:tr h="328777">
                <a:tc vMerge="1">
                  <a:txBody>
                    <a:bodyPr/>
                    <a:lstStyle/>
                    <a:p>
                      <a:endParaRPr lang="en-US"/>
                    </a:p>
                  </a:txBody>
                  <a:tcPr/>
                </a:tc>
                <a:tc vMerge="1">
                  <a:txBody>
                    <a:bodyPr/>
                    <a:lstStyle/>
                    <a:p>
                      <a:endParaRPr lang="en-US"/>
                    </a:p>
                  </a:txBody>
                  <a:tcPr/>
                </a:tc>
                <a:tc rowSpan="2">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rowSpan="2">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rowSpan="2">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 </a:t>
                      </a:r>
                      <a:r>
                        <a:rPr lang="en-US" sz="1200" b="0" i="0" u="none" strike="noStrike" dirty="0" err="1">
                          <a:solidFill>
                            <a:srgbClr val="000000"/>
                          </a:solidFill>
                          <a:effectLst/>
                          <a:latin typeface="Tw Cen MT" panose="020B0602020104020603" pitchFamily="34" charset="0"/>
                        </a:rPr>
                        <a:t>Bahkram</a:t>
                      </a:r>
                      <a:r>
                        <a:rPr lang="en-US" sz="1200" b="0" i="0" u="none" strike="noStrike" dirty="0">
                          <a:solidFill>
                            <a:srgbClr val="000000"/>
                          </a:solidFill>
                          <a:effectLst/>
                          <a:latin typeface="Tw Cen MT" panose="020B0602020104020603" pitchFamily="34" charset="0"/>
                        </a:rPr>
                        <a:t>” was able to direct the customer to all appropriate</a:t>
                      </a:r>
                      <a:r>
                        <a:rPr lang="en-US" sz="1200" b="0" i="0" u="none" strike="noStrike" baseline="0" dirty="0">
                          <a:solidFill>
                            <a:srgbClr val="000000"/>
                          </a:solidFill>
                          <a:effectLst/>
                          <a:latin typeface="Tw Cen MT" panose="020B0602020104020603" pitchFamily="34" charset="0"/>
                        </a:rPr>
                        <a:t> location.  When directed to food court he clearly </a:t>
                      </a:r>
                      <a:r>
                        <a:rPr lang="en-US" sz="1200" b="0" i="0" u="none" strike="noStrike" dirty="0">
                          <a:solidFill>
                            <a:srgbClr val="000000"/>
                          </a:solidFill>
                          <a:effectLst/>
                          <a:latin typeface="Tw Cen MT" panose="020B0602020104020603" pitchFamily="34" charset="0"/>
                        </a:rPr>
                        <a:t>explained directions to both</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L2 and LG.</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English skills was fluent, his responses were correct. </a:t>
                      </a:r>
                    </a:p>
                  </a:txBody>
                  <a:tcPr marL="9525" marR="9525" marT="9525" marB="0" anchor="ctr">
                    <a:solidFill>
                      <a:schemeClr val="bg1">
                        <a:lumMod val="85000"/>
                      </a:schemeClr>
                    </a:solidFill>
                  </a:tcPr>
                </a:tc>
                <a:tc rowSpan="2">
                  <a:txBody>
                    <a:bodyPr/>
                    <a:lstStyle/>
                    <a:p>
                      <a:endParaRPr lang="en-US" dirty="0"/>
                    </a:p>
                  </a:txBody>
                  <a:tcPr marL="9525" marR="9525" marT="9525" marB="0" anchor="ctr">
                    <a:solidFill>
                      <a:schemeClr val="bg1">
                        <a:lumMod val="85000"/>
                      </a:schemeClr>
                    </a:solidFill>
                  </a:tcPr>
                </a:tc>
                <a:extLst>
                  <a:ext uri="{0D108BD9-81ED-4DB2-BD59-A6C34878D82A}">
                    <a16:rowId xmlns="" xmlns:a16="http://schemas.microsoft.com/office/drawing/2014/main" val="89238099"/>
                  </a:ext>
                </a:extLst>
              </a:tr>
              <a:tr h="817744">
                <a:tc>
                  <a:txBody>
                    <a:bodyPr/>
                    <a:lstStyle/>
                    <a:p>
                      <a:pPr algn="ctr" fontAlgn="ctr"/>
                      <a:r>
                        <a:rPr lang="en-US" sz="1200" b="0" i="0" u="none" strike="noStrike" dirty="0">
                          <a:solidFill>
                            <a:srgbClr val="000000"/>
                          </a:solidFill>
                          <a:effectLst/>
                          <a:latin typeface="Tw Cen MT" panose="020B0602020104020603" pitchFamily="34" charset="0"/>
                        </a:rPr>
                        <a:t>23-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marL="171450" indent="-171450" algn="l" fontAlgn="ctr">
                        <a:buFont typeface="Arial" panose="020B0604020202020204" pitchFamily="34" charset="0"/>
                        <a:buChar char="•"/>
                      </a:pP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781470431"/>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4-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was standing at all times and smiling when dealing with the guests.</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54731245"/>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5-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was</a:t>
                      </a:r>
                      <a:r>
                        <a:rPr lang="en-US" sz="1200" b="0" i="0" u="none" strike="noStrike" dirty="0">
                          <a:solidFill>
                            <a:srgbClr val="000000"/>
                          </a:solidFill>
                          <a:effectLst/>
                          <a:latin typeface="Tw Cen MT" panose="020B0602020104020603" pitchFamily="34" charset="0"/>
                        </a:rPr>
                        <a:t> very soft spoken, polite and smiling. He greeted the guest and provided detailed information.</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95080186"/>
                  </a:ext>
                </a:extLst>
              </a:tr>
            </a:tbl>
          </a:graphicData>
        </a:graphic>
      </p:graphicFrame>
    </p:spTree>
    <p:extLst>
      <p:ext uri="{BB962C8B-B14F-4D97-AF65-F5344CB8AC3E}">
        <p14:creationId xmlns:p14="http://schemas.microsoft.com/office/powerpoint/2010/main" val="63220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740</TotalTime>
  <Words>1661</Words>
  <Application>Microsoft Office PowerPoint</Application>
  <PresentationFormat>Widescreen</PresentationFormat>
  <Paragraphs>365</Paragraphs>
  <Slides>11</Slides>
  <Notes>1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1</vt:i4>
      </vt:variant>
    </vt:vector>
  </HeadingPairs>
  <TitlesOfParts>
    <vt:vector size="21" baseType="lpstr">
      <vt:lpstr>ＭＳ Ｐゴシック</vt:lpstr>
      <vt:lpstr>ＭＳ Ｐゴシック</vt:lpstr>
      <vt:lpstr>Arial</vt:lpstr>
      <vt:lpstr>Calibri</vt:lpstr>
      <vt:lpstr>Calibri Light</vt:lpstr>
      <vt:lpstr>Century Gothic</vt:lpstr>
      <vt:lpstr>Myriad Landor</vt:lpstr>
      <vt:lpstr>Tw Cen MT</vt:lpstr>
      <vt:lpstr>Tw Cen MT Condensed</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uzia Moufid</dc:creator>
  <cp:lastModifiedBy>mohamed abd elkader</cp:lastModifiedBy>
  <cp:revision>746</cp:revision>
  <cp:lastPrinted>2017-03-12T06:53:21Z</cp:lastPrinted>
  <dcterms:created xsi:type="dcterms:W3CDTF">2015-03-04T05:41:32Z</dcterms:created>
  <dcterms:modified xsi:type="dcterms:W3CDTF">2017-08-02T23:02:42Z</dcterms:modified>
</cp:coreProperties>
</file>